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9" r:id="rId2"/>
    <p:sldMasterId id="2147483759" r:id="rId3"/>
    <p:sldMasterId id="2147483809" r:id="rId4"/>
    <p:sldMasterId id="2147483859" r:id="rId5"/>
  </p:sldMasterIdLst>
  <p:notesMasterIdLst>
    <p:notesMasterId r:id="rId30"/>
  </p:notesMasterIdLst>
  <p:sldIdLst>
    <p:sldId id="257" r:id="rId6"/>
    <p:sldId id="258" r:id="rId7"/>
    <p:sldId id="287" r:id="rId8"/>
    <p:sldId id="401" r:id="rId9"/>
    <p:sldId id="400" r:id="rId10"/>
    <p:sldId id="307" r:id="rId11"/>
    <p:sldId id="267" r:id="rId12"/>
    <p:sldId id="265" r:id="rId13"/>
    <p:sldId id="885" r:id="rId14"/>
    <p:sldId id="259" r:id="rId15"/>
    <p:sldId id="262" r:id="rId16"/>
    <p:sldId id="889" r:id="rId17"/>
    <p:sldId id="263" r:id="rId18"/>
    <p:sldId id="898" r:id="rId19"/>
    <p:sldId id="899" r:id="rId20"/>
    <p:sldId id="900" r:id="rId21"/>
    <p:sldId id="901" r:id="rId22"/>
    <p:sldId id="902" r:id="rId23"/>
    <p:sldId id="896" r:id="rId24"/>
    <p:sldId id="266" r:id="rId25"/>
    <p:sldId id="895" r:id="rId26"/>
    <p:sldId id="894" r:id="rId27"/>
    <p:sldId id="897" r:id="rId28"/>
    <p:sldId id="903" r:id="rId29"/>
  </p:sldIdLst>
  <p:sldSz cx="12192000" cy="6858000"/>
  <p:notesSz cx="6858000" cy="9144000"/>
  <p:custDataLst>
    <p:tags r:id="rId31"/>
  </p:custDataLst>
  <p:defaultText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9" d="100"/>
          <a:sy n="69" d="100"/>
        </p:scale>
        <p:origin x="73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s>
</file>

<file path=ppt/diagrams/_rels/data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27193C-43AF-4813-AD7E-9FF030E229CA}"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s-ES_tradnl"/>
        </a:p>
      </dgm:t>
    </dgm:pt>
    <dgm:pt modelId="{B6387749-3AE7-4544-9AED-7A26E71D1262}">
      <dgm:prSet phldrT="[Text]" custT="1"/>
      <dgm:spPr/>
      <dgm:t>
        <a:bodyPr/>
        <a:lstStyle/>
        <a:p>
          <a:r>
            <a:rPr lang="es-MX" sz="2000" dirty="0"/>
            <a:t>¿Qué es lo que quiero cubrir?</a:t>
          </a:r>
          <a:endParaRPr lang="es-ES_tradnl" sz="2600" dirty="0"/>
        </a:p>
      </dgm:t>
    </dgm:pt>
    <dgm:pt modelId="{45CC5071-D4D1-4670-AFAB-39144D4B8247}" type="parTrans" cxnId="{94F7BCC4-0A8E-456E-8602-5F8A7D930D6F}">
      <dgm:prSet/>
      <dgm:spPr/>
      <dgm:t>
        <a:bodyPr/>
        <a:lstStyle/>
        <a:p>
          <a:endParaRPr lang="es-ES_tradnl"/>
        </a:p>
      </dgm:t>
    </dgm:pt>
    <dgm:pt modelId="{46BE4B7E-2F13-4457-B3D8-B4837E7CA35B}" type="sibTrans" cxnId="{94F7BCC4-0A8E-456E-8602-5F8A7D930D6F}">
      <dgm:prSet/>
      <dgm:spPr/>
      <dgm:t>
        <a:bodyPr/>
        <a:lstStyle/>
        <a:p>
          <a:endParaRPr lang="es-ES_tradnl"/>
        </a:p>
      </dgm:t>
    </dgm:pt>
    <dgm:pt modelId="{48835354-8121-4BFA-A45C-A104E9EBA0A5}">
      <dgm:prSet custT="1"/>
      <dgm:spPr/>
      <dgm:t>
        <a:bodyPr/>
        <a:lstStyle/>
        <a:p>
          <a:r>
            <a:rPr lang="es-MX" sz="2000" dirty="0"/>
            <a:t>Siniestros y Operaciones</a:t>
          </a:r>
          <a:endParaRPr lang="es-ES_tradnl" sz="2500" dirty="0"/>
        </a:p>
      </dgm:t>
    </dgm:pt>
    <dgm:pt modelId="{DC0629CB-F4BC-4E4A-96D3-7BC98D39DB75}" type="parTrans" cxnId="{64841CB5-7F39-4F0D-BC39-4EE1F04C9177}">
      <dgm:prSet/>
      <dgm:spPr/>
      <dgm:t>
        <a:bodyPr/>
        <a:lstStyle/>
        <a:p>
          <a:endParaRPr lang="es-ES_tradnl"/>
        </a:p>
      </dgm:t>
    </dgm:pt>
    <dgm:pt modelId="{F2A58E88-09EC-462B-8AE8-FA5FB6DD0B56}" type="sibTrans" cxnId="{64841CB5-7F39-4F0D-BC39-4EE1F04C9177}">
      <dgm:prSet/>
      <dgm:spPr/>
      <dgm:t>
        <a:bodyPr/>
        <a:lstStyle/>
        <a:p>
          <a:endParaRPr lang="es-ES_tradnl"/>
        </a:p>
      </dgm:t>
    </dgm:pt>
    <dgm:pt modelId="{862B84DA-7D5D-4C7F-9832-6949468B047B}">
      <dgm:prSet custT="1"/>
      <dgm:spPr/>
      <dgm:t>
        <a:bodyPr/>
        <a:lstStyle/>
        <a:p>
          <a:r>
            <a:rPr lang="es-ES_tradnl" sz="2000" dirty="0"/>
            <a:t>Sistemas</a:t>
          </a:r>
        </a:p>
      </dgm:t>
    </dgm:pt>
    <dgm:pt modelId="{705E9207-9B24-478B-A1B8-B5B5E340B488}" type="parTrans" cxnId="{61528DE1-17C8-4027-8F97-83DDA46CE181}">
      <dgm:prSet/>
      <dgm:spPr/>
      <dgm:t>
        <a:bodyPr/>
        <a:lstStyle/>
        <a:p>
          <a:endParaRPr lang="es-ES_tradnl"/>
        </a:p>
      </dgm:t>
    </dgm:pt>
    <dgm:pt modelId="{822A8A36-A389-4719-881C-D4AD92A2A3D5}" type="sibTrans" cxnId="{61528DE1-17C8-4027-8F97-83DDA46CE181}">
      <dgm:prSet/>
      <dgm:spPr/>
      <dgm:t>
        <a:bodyPr/>
        <a:lstStyle/>
        <a:p>
          <a:endParaRPr lang="es-ES_tradnl"/>
        </a:p>
      </dgm:t>
    </dgm:pt>
    <dgm:pt modelId="{8BC6CE39-D374-4DAE-A082-CAFE70B23F0E}">
      <dgm:prSet custT="1"/>
      <dgm:spPr/>
      <dgm:t>
        <a:bodyPr/>
        <a:lstStyle/>
        <a:p>
          <a:r>
            <a:rPr lang="es-ES_tradnl" sz="2000" dirty="0"/>
            <a:t>¿A qué mercado va Dirigido?</a:t>
          </a:r>
        </a:p>
      </dgm:t>
    </dgm:pt>
    <dgm:pt modelId="{D3EB3D72-9D4C-44A1-B4FF-9FBA458090CE}" type="parTrans" cxnId="{336F4D68-2DB7-4E3C-A43F-594D2B11514A}">
      <dgm:prSet/>
      <dgm:spPr/>
      <dgm:t>
        <a:bodyPr/>
        <a:lstStyle/>
        <a:p>
          <a:endParaRPr lang="es-ES_tradnl"/>
        </a:p>
      </dgm:t>
    </dgm:pt>
    <dgm:pt modelId="{F03C9356-9D23-4123-867A-C20F2CC193DD}" type="sibTrans" cxnId="{336F4D68-2DB7-4E3C-A43F-594D2B11514A}">
      <dgm:prSet/>
      <dgm:spPr/>
      <dgm:t>
        <a:bodyPr/>
        <a:lstStyle/>
        <a:p>
          <a:endParaRPr lang="es-ES_tradnl"/>
        </a:p>
      </dgm:t>
    </dgm:pt>
    <dgm:pt modelId="{7CA5428B-E3AA-4D8A-9236-2F7CA7A078D0}">
      <dgm:prSet custT="1"/>
      <dgm:spPr/>
      <dgm:t>
        <a:bodyPr/>
        <a:lstStyle/>
        <a:p>
          <a:r>
            <a:rPr lang="es-ES_tradnl" sz="2000" dirty="0"/>
            <a:t>¿Hay estadística?</a:t>
          </a:r>
        </a:p>
      </dgm:t>
    </dgm:pt>
    <dgm:pt modelId="{0809AC4E-0741-431D-A4C9-D3964DDD30D4}" type="parTrans" cxnId="{53EAA50E-05CE-46B5-8BB7-DDFB99769181}">
      <dgm:prSet/>
      <dgm:spPr/>
      <dgm:t>
        <a:bodyPr/>
        <a:lstStyle/>
        <a:p>
          <a:endParaRPr lang="es-ES_tradnl"/>
        </a:p>
      </dgm:t>
    </dgm:pt>
    <dgm:pt modelId="{6BE1BEFB-FCC9-4E26-8B0C-AF2981095426}" type="sibTrans" cxnId="{53EAA50E-05CE-46B5-8BB7-DDFB99769181}">
      <dgm:prSet/>
      <dgm:spPr/>
      <dgm:t>
        <a:bodyPr/>
        <a:lstStyle/>
        <a:p>
          <a:endParaRPr lang="es-ES_tradnl"/>
        </a:p>
      </dgm:t>
    </dgm:pt>
    <dgm:pt modelId="{BFEE44C7-BA9C-44B6-B4DE-C395CF3A3453}">
      <dgm:prSet custT="1"/>
      <dgm:spPr/>
      <dgm:t>
        <a:bodyPr/>
        <a:lstStyle/>
        <a:p>
          <a:r>
            <a:rPr lang="es-ES_tradnl" sz="2000" b="0" dirty="0"/>
            <a:t>Cobranzas</a:t>
          </a:r>
        </a:p>
      </dgm:t>
    </dgm:pt>
    <dgm:pt modelId="{B9A4AABF-4787-430B-8064-247C77AE6E30}" type="parTrans" cxnId="{7FC05B27-9618-4562-900B-F8D74CC38060}">
      <dgm:prSet/>
      <dgm:spPr/>
      <dgm:t>
        <a:bodyPr/>
        <a:lstStyle/>
        <a:p>
          <a:endParaRPr lang="es-ES_tradnl"/>
        </a:p>
      </dgm:t>
    </dgm:pt>
    <dgm:pt modelId="{265BDF91-BF08-48EF-9ADA-D7D426108C44}" type="sibTrans" cxnId="{7FC05B27-9618-4562-900B-F8D74CC38060}">
      <dgm:prSet/>
      <dgm:spPr/>
      <dgm:t>
        <a:bodyPr/>
        <a:lstStyle/>
        <a:p>
          <a:endParaRPr lang="es-ES_tradnl"/>
        </a:p>
      </dgm:t>
    </dgm:pt>
    <dgm:pt modelId="{B5A2CBA7-C83B-4072-B9AA-1B2907E6CFAD}">
      <dgm:prSet custT="1"/>
      <dgm:spPr/>
      <dgm:t>
        <a:bodyPr/>
        <a:lstStyle/>
        <a:p>
          <a:r>
            <a:rPr lang="es-ES_tradnl" sz="2000" b="0" dirty="0"/>
            <a:t>Proyección de Ventas</a:t>
          </a:r>
        </a:p>
      </dgm:t>
    </dgm:pt>
    <dgm:pt modelId="{6A7698FE-EDE5-470D-9ED8-B1AEEB3585D2}" type="parTrans" cxnId="{EDE8B006-B611-4609-B306-886B9BD742FF}">
      <dgm:prSet/>
      <dgm:spPr/>
      <dgm:t>
        <a:bodyPr/>
        <a:lstStyle/>
        <a:p>
          <a:endParaRPr lang="en-GB"/>
        </a:p>
      </dgm:t>
    </dgm:pt>
    <dgm:pt modelId="{E7D1528E-76CA-4066-9845-3741CA3B138B}" type="sibTrans" cxnId="{EDE8B006-B611-4609-B306-886B9BD742FF}">
      <dgm:prSet/>
      <dgm:spPr/>
      <dgm:t>
        <a:bodyPr/>
        <a:lstStyle/>
        <a:p>
          <a:endParaRPr lang="en-GB"/>
        </a:p>
      </dgm:t>
    </dgm:pt>
    <dgm:pt modelId="{B16338CD-5442-4050-9074-A2BB667B98F4}" type="pres">
      <dgm:prSet presAssocID="{5527193C-43AF-4813-AD7E-9FF030E229CA}" presName="Name0" presStyleCnt="0">
        <dgm:presLayoutVars>
          <dgm:chMax val="7"/>
          <dgm:chPref val="7"/>
          <dgm:dir/>
        </dgm:presLayoutVars>
      </dgm:prSet>
      <dgm:spPr/>
    </dgm:pt>
    <dgm:pt modelId="{FB4D9E91-F546-4D8A-98EB-0028FF8B8AC6}" type="pres">
      <dgm:prSet presAssocID="{5527193C-43AF-4813-AD7E-9FF030E229CA}" presName="Name1" presStyleCnt="0"/>
      <dgm:spPr/>
    </dgm:pt>
    <dgm:pt modelId="{460873A5-7C37-43DC-BDD0-88D08342B44D}" type="pres">
      <dgm:prSet presAssocID="{5527193C-43AF-4813-AD7E-9FF030E229CA}" presName="cycle" presStyleCnt="0"/>
      <dgm:spPr/>
    </dgm:pt>
    <dgm:pt modelId="{465EAC7A-C91A-46D6-9A6A-D4FBDAFC7B13}" type="pres">
      <dgm:prSet presAssocID="{5527193C-43AF-4813-AD7E-9FF030E229CA}" presName="srcNode" presStyleLbl="node1" presStyleIdx="0" presStyleCnt="7"/>
      <dgm:spPr/>
    </dgm:pt>
    <dgm:pt modelId="{C1721F4F-4F88-4D15-994A-DEAE4ED128C2}" type="pres">
      <dgm:prSet presAssocID="{5527193C-43AF-4813-AD7E-9FF030E229CA}" presName="conn" presStyleLbl="parChTrans1D2" presStyleIdx="0" presStyleCnt="1"/>
      <dgm:spPr/>
    </dgm:pt>
    <dgm:pt modelId="{D8DD56E1-E68C-4186-88DA-30E4EFE06B50}" type="pres">
      <dgm:prSet presAssocID="{5527193C-43AF-4813-AD7E-9FF030E229CA}" presName="extraNode" presStyleLbl="node1" presStyleIdx="0" presStyleCnt="7"/>
      <dgm:spPr/>
    </dgm:pt>
    <dgm:pt modelId="{572FAFF2-7EDF-4BEE-BA34-E8B79B7A07AB}" type="pres">
      <dgm:prSet presAssocID="{5527193C-43AF-4813-AD7E-9FF030E229CA}" presName="dstNode" presStyleLbl="node1" presStyleIdx="0" presStyleCnt="7"/>
      <dgm:spPr/>
    </dgm:pt>
    <dgm:pt modelId="{62B5605C-EE49-403F-97BA-3FC35493240C}" type="pres">
      <dgm:prSet presAssocID="{B6387749-3AE7-4544-9AED-7A26E71D1262}" presName="text_1" presStyleLbl="node1" presStyleIdx="0" presStyleCnt="7">
        <dgm:presLayoutVars>
          <dgm:bulletEnabled val="1"/>
        </dgm:presLayoutVars>
      </dgm:prSet>
      <dgm:spPr>
        <a:prstGeom prst="roundRect">
          <a:avLst/>
        </a:prstGeom>
      </dgm:spPr>
    </dgm:pt>
    <dgm:pt modelId="{63FDA124-72EA-4992-9DCD-EC7AB545417C}" type="pres">
      <dgm:prSet presAssocID="{B6387749-3AE7-4544-9AED-7A26E71D1262}" presName="accent_1" presStyleCnt="0"/>
      <dgm:spPr/>
    </dgm:pt>
    <dgm:pt modelId="{8996E006-FFDF-4B84-B13C-8A59FD0AC8EE}" type="pres">
      <dgm:prSet presAssocID="{B6387749-3AE7-4544-9AED-7A26E71D1262}" presName="accentRepeatNode" presStyleLbl="solidFgAcc1" presStyleIdx="0" presStyleCnt="7"/>
      <dgm:spPr>
        <a:blipFill rotWithShape="0">
          <a:blip xmlns:r="http://schemas.openxmlformats.org/officeDocument/2006/relationships" r:embed="rId1"/>
          <a:stretch>
            <a:fillRect/>
          </a:stretch>
        </a:blipFill>
      </dgm:spPr>
    </dgm:pt>
    <dgm:pt modelId="{AF23E40C-9D11-4571-86B2-585E132DC315}" type="pres">
      <dgm:prSet presAssocID="{8BC6CE39-D374-4DAE-A082-CAFE70B23F0E}" presName="text_2" presStyleLbl="node1" presStyleIdx="1" presStyleCnt="7">
        <dgm:presLayoutVars>
          <dgm:bulletEnabled val="1"/>
        </dgm:presLayoutVars>
      </dgm:prSet>
      <dgm:spPr>
        <a:prstGeom prst="roundRect">
          <a:avLst/>
        </a:prstGeom>
      </dgm:spPr>
    </dgm:pt>
    <dgm:pt modelId="{16C56A83-4B1D-432C-9263-C37ECA1B4E10}" type="pres">
      <dgm:prSet presAssocID="{8BC6CE39-D374-4DAE-A082-CAFE70B23F0E}" presName="accent_2" presStyleCnt="0"/>
      <dgm:spPr/>
    </dgm:pt>
    <dgm:pt modelId="{CF103899-D798-4552-BC36-9A896B22E979}" type="pres">
      <dgm:prSet presAssocID="{8BC6CE39-D374-4DAE-A082-CAFE70B23F0E}" presName="accentRepeatNode" presStyleLbl="solidFgAcc1" presStyleIdx="1" presStyleCnt="7"/>
      <dgm:spPr/>
    </dgm:pt>
    <dgm:pt modelId="{3AC43DAD-2265-434D-BA7A-6BA8322D42C0}" type="pres">
      <dgm:prSet presAssocID="{7CA5428B-E3AA-4D8A-9236-2F7CA7A078D0}" presName="text_3" presStyleLbl="node1" presStyleIdx="2" presStyleCnt="7">
        <dgm:presLayoutVars>
          <dgm:bulletEnabled val="1"/>
        </dgm:presLayoutVars>
      </dgm:prSet>
      <dgm:spPr>
        <a:prstGeom prst="roundRect">
          <a:avLst/>
        </a:prstGeom>
      </dgm:spPr>
    </dgm:pt>
    <dgm:pt modelId="{A1D69B77-F5E2-44C6-BBCC-E7C49C21B121}" type="pres">
      <dgm:prSet presAssocID="{7CA5428B-E3AA-4D8A-9236-2F7CA7A078D0}" presName="accent_3" presStyleCnt="0"/>
      <dgm:spPr/>
    </dgm:pt>
    <dgm:pt modelId="{2561B39D-67AE-4851-8B18-573C206516D0}" type="pres">
      <dgm:prSet presAssocID="{7CA5428B-E3AA-4D8A-9236-2F7CA7A078D0}" presName="accentRepeatNode" presStyleLbl="solidFgAcc1" presStyleIdx="2" presStyleCnt="7"/>
      <dgm:spPr/>
    </dgm:pt>
    <dgm:pt modelId="{8E626E0F-DE5A-4F53-8107-A07B69DA791D}" type="pres">
      <dgm:prSet presAssocID="{862B84DA-7D5D-4C7F-9832-6949468B047B}" presName="text_4" presStyleLbl="node1" presStyleIdx="3" presStyleCnt="7">
        <dgm:presLayoutVars>
          <dgm:bulletEnabled val="1"/>
        </dgm:presLayoutVars>
      </dgm:prSet>
      <dgm:spPr>
        <a:prstGeom prst="roundRect">
          <a:avLst/>
        </a:prstGeom>
      </dgm:spPr>
    </dgm:pt>
    <dgm:pt modelId="{CF0C76B0-191D-4451-ADFF-BEB0F4AA12CB}" type="pres">
      <dgm:prSet presAssocID="{862B84DA-7D5D-4C7F-9832-6949468B047B}" presName="accent_4" presStyleCnt="0"/>
      <dgm:spPr/>
    </dgm:pt>
    <dgm:pt modelId="{F7D3DD4A-17CB-4249-8898-624316825668}" type="pres">
      <dgm:prSet presAssocID="{862B84DA-7D5D-4C7F-9832-6949468B047B}" presName="accentRepeatNode" presStyleLbl="solidFgAcc1" presStyleIdx="3" presStyleCnt="7"/>
      <dgm:spPr>
        <a:blipFill rotWithShape="0">
          <a:blip xmlns:r="http://schemas.openxmlformats.org/officeDocument/2006/relationships" r:embed="rId2"/>
          <a:stretch>
            <a:fillRect/>
          </a:stretch>
        </a:blipFill>
      </dgm:spPr>
    </dgm:pt>
    <dgm:pt modelId="{8EDFCBA9-2362-4E5A-9B2B-C2639B521A5F}" type="pres">
      <dgm:prSet presAssocID="{48835354-8121-4BFA-A45C-A104E9EBA0A5}" presName="text_5" presStyleLbl="node1" presStyleIdx="4" presStyleCnt="7">
        <dgm:presLayoutVars>
          <dgm:bulletEnabled val="1"/>
        </dgm:presLayoutVars>
      </dgm:prSet>
      <dgm:spPr>
        <a:prstGeom prst="roundRect">
          <a:avLst/>
        </a:prstGeom>
      </dgm:spPr>
    </dgm:pt>
    <dgm:pt modelId="{F0B99CBC-DDD4-4F33-A7EB-379C1E70B882}" type="pres">
      <dgm:prSet presAssocID="{48835354-8121-4BFA-A45C-A104E9EBA0A5}" presName="accent_5" presStyleCnt="0"/>
      <dgm:spPr/>
    </dgm:pt>
    <dgm:pt modelId="{104055FB-A23E-41D7-80C5-AAC75AAD7A84}" type="pres">
      <dgm:prSet presAssocID="{48835354-8121-4BFA-A45C-A104E9EBA0A5}" presName="accentRepeatNode" presStyleLbl="solidFgAcc1" presStyleIdx="4" presStyleCnt="7"/>
      <dgm:spPr>
        <a:blipFill rotWithShape="0">
          <a:blip xmlns:r="http://schemas.openxmlformats.org/officeDocument/2006/relationships" r:embed="rId3"/>
          <a:stretch>
            <a:fillRect/>
          </a:stretch>
        </a:blipFill>
      </dgm:spPr>
    </dgm:pt>
    <dgm:pt modelId="{E8BC10D1-7919-4006-94D4-F449DE9636D0}" type="pres">
      <dgm:prSet presAssocID="{BFEE44C7-BA9C-44B6-B4DE-C395CF3A3453}" presName="text_6" presStyleLbl="node1" presStyleIdx="5" presStyleCnt="7">
        <dgm:presLayoutVars>
          <dgm:bulletEnabled val="1"/>
        </dgm:presLayoutVars>
      </dgm:prSet>
      <dgm:spPr>
        <a:prstGeom prst="roundRect">
          <a:avLst/>
        </a:prstGeom>
      </dgm:spPr>
    </dgm:pt>
    <dgm:pt modelId="{77589A52-54F5-4581-8A98-D4C88189B5A3}" type="pres">
      <dgm:prSet presAssocID="{BFEE44C7-BA9C-44B6-B4DE-C395CF3A3453}" presName="accent_6" presStyleCnt="0"/>
      <dgm:spPr/>
    </dgm:pt>
    <dgm:pt modelId="{0EE97124-F7ED-4E20-945D-05ADF5C2E021}" type="pres">
      <dgm:prSet presAssocID="{BFEE44C7-BA9C-44B6-B4DE-C395CF3A3453}" presName="accentRepeatNode" presStyleLbl="solidFgAcc1" presStyleIdx="5" presStyleCnt="7"/>
      <dgm:spPr/>
    </dgm:pt>
    <dgm:pt modelId="{55877450-218E-44AA-BD1E-B4A96C90A4A3}" type="pres">
      <dgm:prSet presAssocID="{B5A2CBA7-C83B-4072-B9AA-1B2907E6CFAD}" presName="text_7" presStyleLbl="node1" presStyleIdx="6" presStyleCnt="7">
        <dgm:presLayoutVars>
          <dgm:bulletEnabled val="1"/>
        </dgm:presLayoutVars>
      </dgm:prSet>
      <dgm:spPr/>
    </dgm:pt>
    <dgm:pt modelId="{6102AC59-269C-4DC4-88E1-DB9CCAE71E04}" type="pres">
      <dgm:prSet presAssocID="{B5A2CBA7-C83B-4072-B9AA-1B2907E6CFAD}" presName="accent_7" presStyleCnt="0"/>
      <dgm:spPr/>
    </dgm:pt>
    <dgm:pt modelId="{557BD285-937A-4A8E-A656-0F05BADE1FB7}" type="pres">
      <dgm:prSet presAssocID="{B5A2CBA7-C83B-4072-B9AA-1B2907E6CFAD}" presName="accentRepeatNode" presStyleLbl="solidFgAcc1" presStyleIdx="6" presStyleCnt="7"/>
      <dgm:spPr/>
    </dgm:pt>
  </dgm:ptLst>
  <dgm:cxnLst>
    <dgm:cxn modelId="{EDE8B006-B611-4609-B306-886B9BD742FF}" srcId="{5527193C-43AF-4813-AD7E-9FF030E229CA}" destId="{B5A2CBA7-C83B-4072-B9AA-1B2907E6CFAD}" srcOrd="6" destOrd="0" parTransId="{6A7698FE-EDE5-470D-9ED8-B1AEEB3585D2}" sibTransId="{E7D1528E-76CA-4066-9845-3741CA3B138B}"/>
    <dgm:cxn modelId="{53EAA50E-05CE-46B5-8BB7-DDFB99769181}" srcId="{5527193C-43AF-4813-AD7E-9FF030E229CA}" destId="{7CA5428B-E3AA-4D8A-9236-2F7CA7A078D0}" srcOrd="2" destOrd="0" parTransId="{0809AC4E-0741-431D-A4C9-D3964DDD30D4}" sibTransId="{6BE1BEFB-FCC9-4E26-8B0C-AF2981095426}"/>
    <dgm:cxn modelId="{CB848615-8D1F-4A88-83BD-A7A2E494DAFF}" type="presOf" srcId="{8BC6CE39-D374-4DAE-A082-CAFE70B23F0E}" destId="{AF23E40C-9D11-4571-86B2-585E132DC315}" srcOrd="0" destOrd="0" presId="urn:microsoft.com/office/officeart/2008/layout/VerticalCurvedList"/>
    <dgm:cxn modelId="{7FC05B27-9618-4562-900B-F8D74CC38060}" srcId="{5527193C-43AF-4813-AD7E-9FF030E229CA}" destId="{BFEE44C7-BA9C-44B6-B4DE-C395CF3A3453}" srcOrd="5" destOrd="0" parTransId="{B9A4AABF-4787-430B-8064-247C77AE6E30}" sibTransId="{265BDF91-BF08-48EF-9ADA-D7D426108C44}"/>
    <dgm:cxn modelId="{1FC4C029-3A3B-47BC-BC9F-CC17576EFA4A}" type="presOf" srcId="{BFEE44C7-BA9C-44B6-B4DE-C395CF3A3453}" destId="{E8BC10D1-7919-4006-94D4-F449DE9636D0}" srcOrd="0" destOrd="0" presId="urn:microsoft.com/office/officeart/2008/layout/VerticalCurvedList"/>
    <dgm:cxn modelId="{336F4D68-2DB7-4E3C-A43F-594D2B11514A}" srcId="{5527193C-43AF-4813-AD7E-9FF030E229CA}" destId="{8BC6CE39-D374-4DAE-A082-CAFE70B23F0E}" srcOrd="1" destOrd="0" parTransId="{D3EB3D72-9D4C-44A1-B4FF-9FBA458090CE}" sibTransId="{F03C9356-9D23-4123-867A-C20F2CC193DD}"/>
    <dgm:cxn modelId="{C0EDB66A-D47B-4FD7-9D4C-AAA2934A5027}" type="presOf" srcId="{862B84DA-7D5D-4C7F-9832-6949468B047B}" destId="{8E626E0F-DE5A-4F53-8107-A07B69DA791D}" srcOrd="0" destOrd="0" presId="urn:microsoft.com/office/officeart/2008/layout/VerticalCurvedList"/>
    <dgm:cxn modelId="{3FD8A170-81D1-4E37-B90C-B40DCEB79A74}" type="presOf" srcId="{5527193C-43AF-4813-AD7E-9FF030E229CA}" destId="{B16338CD-5442-4050-9074-A2BB667B98F4}" srcOrd="0" destOrd="0" presId="urn:microsoft.com/office/officeart/2008/layout/VerticalCurvedList"/>
    <dgm:cxn modelId="{E2B9AB54-17ED-47FB-A23D-69C177BB8EB4}" type="presOf" srcId="{48835354-8121-4BFA-A45C-A104E9EBA0A5}" destId="{8EDFCBA9-2362-4E5A-9B2B-C2639B521A5F}" srcOrd="0" destOrd="0" presId="urn:microsoft.com/office/officeart/2008/layout/VerticalCurvedList"/>
    <dgm:cxn modelId="{EE4055A2-1B47-4D4D-A060-10EE8E806A58}" type="presOf" srcId="{B6387749-3AE7-4544-9AED-7A26E71D1262}" destId="{62B5605C-EE49-403F-97BA-3FC35493240C}" srcOrd="0" destOrd="0" presId="urn:microsoft.com/office/officeart/2008/layout/VerticalCurvedList"/>
    <dgm:cxn modelId="{64841CB5-7F39-4F0D-BC39-4EE1F04C9177}" srcId="{5527193C-43AF-4813-AD7E-9FF030E229CA}" destId="{48835354-8121-4BFA-A45C-A104E9EBA0A5}" srcOrd="4" destOrd="0" parTransId="{DC0629CB-F4BC-4E4A-96D3-7BC98D39DB75}" sibTransId="{F2A58E88-09EC-462B-8AE8-FA5FB6DD0B56}"/>
    <dgm:cxn modelId="{F5A8C1BE-EB9B-4F61-9B18-0E7B95FA2B9E}" type="presOf" srcId="{46BE4B7E-2F13-4457-B3D8-B4837E7CA35B}" destId="{C1721F4F-4F88-4D15-994A-DEAE4ED128C2}" srcOrd="0" destOrd="0" presId="urn:microsoft.com/office/officeart/2008/layout/VerticalCurvedList"/>
    <dgm:cxn modelId="{94F7BCC4-0A8E-456E-8602-5F8A7D930D6F}" srcId="{5527193C-43AF-4813-AD7E-9FF030E229CA}" destId="{B6387749-3AE7-4544-9AED-7A26E71D1262}" srcOrd="0" destOrd="0" parTransId="{45CC5071-D4D1-4670-AFAB-39144D4B8247}" sibTransId="{46BE4B7E-2F13-4457-B3D8-B4837E7CA35B}"/>
    <dgm:cxn modelId="{61528DE1-17C8-4027-8F97-83DDA46CE181}" srcId="{5527193C-43AF-4813-AD7E-9FF030E229CA}" destId="{862B84DA-7D5D-4C7F-9832-6949468B047B}" srcOrd="3" destOrd="0" parTransId="{705E9207-9B24-478B-A1B8-B5B5E340B488}" sibTransId="{822A8A36-A389-4719-881C-D4AD92A2A3D5}"/>
    <dgm:cxn modelId="{EB3037E2-FB04-4E45-BEDA-EA84CB62E815}" type="presOf" srcId="{B5A2CBA7-C83B-4072-B9AA-1B2907E6CFAD}" destId="{55877450-218E-44AA-BD1E-B4A96C90A4A3}" srcOrd="0" destOrd="0" presId="urn:microsoft.com/office/officeart/2008/layout/VerticalCurvedList"/>
    <dgm:cxn modelId="{08628DF1-46CE-461F-9EC4-674A22B5504C}" type="presOf" srcId="{7CA5428B-E3AA-4D8A-9236-2F7CA7A078D0}" destId="{3AC43DAD-2265-434D-BA7A-6BA8322D42C0}" srcOrd="0" destOrd="0" presId="urn:microsoft.com/office/officeart/2008/layout/VerticalCurvedList"/>
    <dgm:cxn modelId="{08F2E2A8-FE19-46DB-A9B3-2D88B9CC70CF}" type="presParOf" srcId="{B16338CD-5442-4050-9074-A2BB667B98F4}" destId="{FB4D9E91-F546-4D8A-98EB-0028FF8B8AC6}" srcOrd="0" destOrd="0" presId="urn:microsoft.com/office/officeart/2008/layout/VerticalCurvedList"/>
    <dgm:cxn modelId="{ED3A6146-1A41-4257-BB6D-F3462966BC0A}" type="presParOf" srcId="{FB4D9E91-F546-4D8A-98EB-0028FF8B8AC6}" destId="{460873A5-7C37-43DC-BDD0-88D08342B44D}" srcOrd="0" destOrd="0" presId="urn:microsoft.com/office/officeart/2008/layout/VerticalCurvedList"/>
    <dgm:cxn modelId="{F1A571B9-4DD7-487E-8970-A8E09D132F84}" type="presParOf" srcId="{460873A5-7C37-43DC-BDD0-88D08342B44D}" destId="{465EAC7A-C91A-46D6-9A6A-D4FBDAFC7B13}" srcOrd="0" destOrd="0" presId="urn:microsoft.com/office/officeart/2008/layout/VerticalCurvedList"/>
    <dgm:cxn modelId="{A325C989-3BB9-4CE9-8AB7-3AAD682D6935}" type="presParOf" srcId="{460873A5-7C37-43DC-BDD0-88D08342B44D}" destId="{C1721F4F-4F88-4D15-994A-DEAE4ED128C2}" srcOrd="1" destOrd="0" presId="urn:microsoft.com/office/officeart/2008/layout/VerticalCurvedList"/>
    <dgm:cxn modelId="{5E451428-D7F6-4829-A955-36684247F458}" type="presParOf" srcId="{460873A5-7C37-43DC-BDD0-88D08342B44D}" destId="{D8DD56E1-E68C-4186-88DA-30E4EFE06B50}" srcOrd="2" destOrd="0" presId="urn:microsoft.com/office/officeart/2008/layout/VerticalCurvedList"/>
    <dgm:cxn modelId="{7B6277CD-C4DF-480C-B192-9FC9069C0693}" type="presParOf" srcId="{460873A5-7C37-43DC-BDD0-88D08342B44D}" destId="{572FAFF2-7EDF-4BEE-BA34-E8B79B7A07AB}" srcOrd="3" destOrd="0" presId="urn:microsoft.com/office/officeart/2008/layout/VerticalCurvedList"/>
    <dgm:cxn modelId="{B11EE154-54E1-4CED-8C72-C6543836F72C}" type="presParOf" srcId="{FB4D9E91-F546-4D8A-98EB-0028FF8B8AC6}" destId="{62B5605C-EE49-403F-97BA-3FC35493240C}" srcOrd="1" destOrd="0" presId="urn:microsoft.com/office/officeart/2008/layout/VerticalCurvedList"/>
    <dgm:cxn modelId="{2BAB5EAA-A480-40A1-9E87-4042DA2785B9}" type="presParOf" srcId="{FB4D9E91-F546-4D8A-98EB-0028FF8B8AC6}" destId="{63FDA124-72EA-4992-9DCD-EC7AB545417C}" srcOrd="2" destOrd="0" presId="urn:microsoft.com/office/officeart/2008/layout/VerticalCurvedList"/>
    <dgm:cxn modelId="{DE25945C-03E4-4826-8586-68EB8366BFF2}" type="presParOf" srcId="{63FDA124-72EA-4992-9DCD-EC7AB545417C}" destId="{8996E006-FFDF-4B84-B13C-8A59FD0AC8EE}" srcOrd="0" destOrd="0" presId="urn:microsoft.com/office/officeart/2008/layout/VerticalCurvedList"/>
    <dgm:cxn modelId="{D1AB0ED7-9745-407E-BD04-CD7B418DDAFF}" type="presParOf" srcId="{FB4D9E91-F546-4D8A-98EB-0028FF8B8AC6}" destId="{AF23E40C-9D11-4571-86B2-585E132DC315}" srcOrd="3" destOrd="0" presId="urn:microsoft.com/office/officeart/2008/layout/VerticalCurvedList"/>
    <dgm:cxn modelId="{C8D9D7FC-69C1-49CF-BF16-0A9752E3113D}" type="presParOf" srcId="{FB4D9E91-F546-4D8A-98EB-0028FF8B8AC6}" destId="{16C56A83-4B1D-432C-9263-C37ECA1B4E10}" srcOrd="4" destOrd="0" presId="urn:microsoft.com/office/officeart/2008/layout/VerticalCurvedList"/>
    <dgm:cxn modelId="{11D2F468-BA3F-4921-B1B5-D650CE6AE0A4}" type="presParOf" srcId="{16C56A83-4B1D-432C-9263-C37ECA1B4E10}" destId="{CF103899-D798-4552-BC36-9A896B22E979}" srcOrd="0" destOrd="0" presId="urn:microsoft.com/office/officeart/2008/layout/VerticalCurvedList"/>
    <dgm:cxn modelId="{BF33F7D6-F0D0-47E5-A9D6-29EC05851D86}" type="presParOf" srcId="{FB4D9E91-F546-4D8A-98EB-0028FF8B8AC6}" destId="{3AC43DAD-2265-434D-BA7A-6BA8322D42C0}" srcOrd="5" destOrd="0" presId="urn:microsoft.com/office/officeart/2008/layout/VerticalCurvedList"/>
    <dgm:cxn modelId="{EA4F1263-5058-40CE-AEF7-901F7C842A40}" type="presParOf" srcId="{FB4D9E91-F546-4D8A-98EB-0028FF8B8AC6}" destId="{A1D69B77-F5E2-44C6-BBCC-E7C49C21B121}" srcOrd="6" destOrd="0" presId="urn:microsoft.com/office/officeart/2008/layout/VerticalCurvedList"/>
    <dgm:cxn modelId="{1BC20631-5A75-4466-B78B-750FB883B391}" type="presParOf" srcId="{A1D69B77-F5E2-44C6-BBCC-E7C49C21B121}" destId="{2561B39D-67AE-4851-8B18-573C206516D0}" srcOrd="0" destOrd="0" presId="urn:microsoft.com/office/officeart/2008/layout/VerticalCurvedList"/>
    <dgm:cxn modelId="{F70B62C5-0923-4BA9-8697-40E02BBD540D}" type="presParOf" srcId="{FB4D9E91-F546-4D8A-98EB-0028FF8B8AC6}" destId="{8E626E0F-DE5A-4F53-8107-A07B69DA791D}" srcOrd="7" destOrd="0" presId="urn:microsoft.com/office/officeart/2008/layout/VerticalCurvedList"/>
    <dgm:cxn modelId="{BC2182F8-2E34-47E1-A8B2-434AF53E5464}" type="presParOf" srcId="{FB4D9E91-F546-4D8A-98EB-0028FF8B8AC6}" destId="{CF0C76B0-191D-4451-ADFF-BEB0F4AA12CB}" srcOrd="8" destOrd="0" presId="urn:microsoft.com/office/officeart/2008/layout/VerticalCurvedList"/>
    <dgm:cxn modelId="{E59D1BA1-E890-4F1E-875C-485DCB62439E}" type="presParOf" srcId="{CF0C76B0-191D-4451-ADFF-BEB0F4AA12CB}" destId="{F7D3DD4A-17CB-4249-8898-624316825668}" srcOrd="0" destOrd="0" presId="urn:microsoft.com/office/officeart/2008/layout/VerticalCurvedList"/>
    <dgm:cxn modelId="{B236AD81-C91B-4D3A-BF0D-4521D9DBAC92}" type="presParOf" srcId="{FB4D9E91-F546-4D8A-98EB-0028FF8B8AC6}" destId="{8EDFCBA9-2362-4E5A-9B2B-C2639B521A5F}" srcOrd="9" destOrd="0" presId="urn:microsoft.com/office/officeart/2008/layout/VerticalCurvedList"/>
    <dgm:cxn modelId="{42BB87EB-8124-4EAA-8BE4-452EDA354873}" type="presParOf" srcId="{FB4D9E91-F546-4D8A-98EB-0028FF8B8AC6}" destId="{F0B99CBC-DDD4-4F33-A7EB-379C1E70B882}" srcOrd="10" destOrd="0" presId="urn:microsoft.com/office/officeart/2008/layout/VerticalCurvedList"/>
    <dgm:cxn modelId="{CD0AE121-B1F6-4C6A-AF72-72DC86A73900}" type="presParOf" srcId="{F0B99CBC-DDD4-4F33-A7EB-379C1E70B882}" destId="{104055FB-A23E-41D7-80C5-AAC75AAD7A84}" srcOrd="0" destOrd="0" presId="urn:microsoft.com/office/officeart/2008/layout/VerticalCurvedList"/>
    <dgm:cxn modelId="{8CA7F6BC-B119-4B14-A72A-034D81523CF3}" type="presParOf" srcId="{FB4D9E91-F546-4D8A-98EB-0028FF8B8AC6}" destId="{E8BC10D1-7919-4006-94D4-F449DE9636D0}" srcOrd="11" destOrd="0" presId="urn:microsoft.com/office/officeart/2008/layout/VerticalCurvedList"/>
    <dgm:cxn modelId="{49073FBB-63EE-460C-BBA8-C314CD68BD5D}" type="presParOf" srcId="{FB4D9E91-F546-4D8A-98EB-0028FF8B8AC6}" destId="{77589A52-54F5-4581-8A98-D4C88189B5A3}" srcOrd="12" destOrd="0" presId="urn:microsoft.com/office/officeart/2008/layout/VerticalCurvedList"/>
    <dgm:cxn modelId="{F6E77369-6474-4D28-98D9-4E63E034DDAF}" type="presParOf" srcId="{77589A52-54F5-4581-8A98-D4C88189B5A3}" destId="{0EE97124-F7ED-4E20-945D-05ADF5C2E021}" srcOrd="0" destOrd="0" presId="urn:microsoft.com/office/officeart/2008/layout/VerticalCurvedList"/>
    <dgm:cxn modelId="{B6D88904-6B62-4169-BFEF-34F74E2CA0D0}" type="presParOf" srcId="{FB4D9E91-F546-4D8A-98EB-0028FF8B8AC6}" destId="{55877450-218E-44AA-BD1E-B4A96C90A4A3}" srcOrd="13" destOrd="0" presId="urn:microsoft.com/office/officeart/2008/layout/VerticalCurvedList"/>
    <dgm:cxn modelId="{47B828EA-4C64-4D0B-830B-23121C704A90}" type="presParOf" srcId="{FB4D9E91-F546-4D8A-98EB-0028FF8B8AC6}" destId="{6102AC59-269C-4DC4-88E1-DB9CCAE71E04}" srcOrd="14" destOrd="0" presId="urn:microsoft.com/office/officeart/2008/layout/VerticalCurvedList"/>
    <dgm:cxn modelId="{CB6D2EFA-4C1A-4A63-9933-103A929D6921}" type="presParOf" srcId="{6102AC59-269C-4DC4-88E1-DB9CCAE71E04}" destId="{557BD285-937A-4A8E-A656-0F05BADE1FB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721F4F-4F88-4D15-994A-DEAE4ED128C2}">
      <dsp:nvSpPr>
        <dsp:cNvPr id="0" name=""/>
        <dsp:cNvSpPr/>
      </dsp:nvSpPr>
      <dsp:spPr>
        <a:xfrm>
          <a:off x="-4727046" y="-724769"/>
          <a:ext cx="5631917" cy="5631917"/>
        </a:xfrm>
        <a:prstGeom prst="blockArc">
          <a:avLst>
            <a:gd name="adj1" fmla="val 18900000"/>
            <a:gd name="adj2" fmla="val 2700000"/>
            <a:gd name="adj3" fmla="val 384"/>
          </a:avLst>
        </a:prstGeom>
        <a:noFill/>
        <a:ln w="12700" cap="flat" cmpd="sng" algn="ctr">
          <a:solidFill>
            <a:schemeClr val="accent1">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B5605C-EE49-403F-97BA-3FC35493240C}">
      <dsp:nvSpPr>
        <dsp:cNvPr id="0" name=""/>
        <dsp:cNvSpPr/>
      </dsp:nvSpPr>
      <dsp:spPr>
        <a:xfrm>
          <a:off x="293393" y="190130"/>
          <a:ext cx="6868101" cy="380094"/>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MX" sz="2000" kern="1200" dirty="0"/>
            <a:t>¿Qué es lo que quiero cubrir?</a:t>
          </a:r>
          <a:endParaRPr lang="es-ES_tradnl" sz="2600" kern="1200" dirty="0"/>
        </a:p>
      </dsp:txBody>
      <dsp:txXfrm>
        <a:off x="311948" y="208685"/>
        <a:ext cx="6830991" cy="342984"/>
      </dsp:txXfrm>
    </dsp:sp>
    <dsp:sp modelId="{8996E006-FFDF-4B84-B13C-8A59FD0AC8EE}">
      <dsp:nvSpPr>
        <dsp:cNvPr id="0" name=""/>
        <dsp:cNvSpPr/>
      </dsp:nvSpPr>
      <dsp:spPr>
        <a:xfrm>
          <a:off x="55834" y="142619"/>
          <a:ext cx="475118" cy="475118"/>
        </a:xfrm>
        <a:prstGeom prst="ellipse">
          <a:avLst/>
        </a:prstGeom>
        <a:blipFill rotWithShape="0">
          <a:blip xmlns:r="http://schemas.openxmlformats.org/officeDocument/2006/relationships" r:embed="rId1"/>
          <a:stretch>
            <a:fillRect/>
          </a:stretch>
        </a:blip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23E40C-9D11-4571-86B2-585E132DC315}">
      <dsp:nvSpPr>
        <dsp:cNvPr id="0" name=""/>
        <dsp:cNvSpPr/>
      </dsp:nvSpPr>
      <dsp:spPr>
        <a:xfrm>
          <a:off x="637603" y="760607"/>
          <a:ext cx="6523891" cy="380094"/>
        </a:xfrm>
        <a:prstGeom prst="roundRect">
          <a:avLst/>
        </a:prstGeom>
        <a:solidFill>
          <a:schemeClr val="accent1">
            <a:shade val="50000"/>
            <a:hueOff val="241047"/>
            <a:satOff val="-12966"/>
            <a:lumOff val="14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A qué mercado va Dirigido?</a:t>
          </a:r>
        </a:p>
      </dsp:txBody>
      <dsp:txXfrm>
        <a:off x="656158" y="779162"/>
        <a:ext cx="6486781" cy="342984"/>
      </dsp:txXfrm>
    </dsp:sp>
    <dsp:sp modelId="{CF103899-D798-4552-BC36-9A896B22E979}">
      <dsp:nvSpPr>
        <dsp:cNvPr id="0" name=""/>
        <dsp:cNvSpPr/>
      </dsp:nvSpPr>
      <dsp:spPr>
        <a:xfrm>
          <a:off x="400044" y="713095"/>
          <a:ext cx="475118" cy="475118"/>
        </a:xfrm>
        <a:prstGeom prst="ellipse">
          <a:avLst/>
        </a:prstGeom>
        <a:solidFill>
          <a:schemeClr val="lt1">
            <a:hueOff val="0"/>
            <a:satOff val="0"/>
            <a:lumOff val="0"/>
            <a:alphaOff val="0"/>
          </a:schemeClr>
        </a:solidFill>
        <a:ln w="12700" cap="flat" cmpd="sng" algn="ctr">
          <a:solidFill>
            <a:schemeClr val="accent1">
              <a:shade val="50000"/>
              <a:hueOff val="241047"/>
              <a:satOff val="-12966"/>
              <a:lumOff val="14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C43DAD-2265-434D-BA7A-6BA8322D42C0}">
      <dsp:nvSpPr>
        <dsp:cNvPr id="0" name=""/>
        <dsp:cNvSpPr/>
      </dsp:nvSpPr>
      <dsp:spPr>
        <a:xfrm>
          <a:off x="826228" y="1330665"/>
          <a:ext cx="6335266" cy="380094"/>
        </a:xfrm>
        <a:prstGeom prst="roundRect">
          <a:avLst/>
        </a:prstGeom>
        <a:solidFill>
          <a:schemeClr val="accent1">
            <a:shade val="50000"/>
            <a:hueOff val="482094"/>
            <a:satOff val="-25932"/>
            <a:lumOff val="287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Hay estadística?</a:t>
          </a:r>
        </a:p>
      </dsp:txBody>
      <dsp:txXfrm>
        <a:off x="844783" y="1349220"/>
        <a:ext cx="6298156" cy="342984"/>
      </dsp:txXfrm>
    </dsp:sp>
    <dsp:sp modelId="{2561B39D-67AE-4851-8B18-573C206516D0}">
      <dsp:nvSpPr>
        <dsp:cNvPr id="0" name=""/>
        <dsp:cNvSpPr/>
      </dsp:nvSpPr>
      <dsp:spPr>
        <a:xfrm>
          <a:off x="588669" y="1283153"/>
          <a:ext cx="475118" cy="475118"/>
        </a:xfrm>
        <a:prstGeom prst="ellipse">
          <a:avLst/>
        </a:prstGeom>
        <a:solidFill>
          <a:schemeClr val="lt1">
            <a:hueOff val="0"/>
            <a:satOff val="0"/>
            <a:lumOff val="0"/>
            <a:alphaOff val="0"/>
          </a:schemeClr>
        </a:solidFill>
        <a:ln w="12700" cap="flat" cmpd="sng" algn="ctr">
          <a:solidFill>
            <a:schemeClr val="accent1">
              <a:shade val="50000"/>
              <a:hueOff val="482094"/>
              <a:satOff val="-25932"/>
              <a:lumOff val="28707"/>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626E0F-DE5A-4F53-8107-A07B69DA791D}">
      <dsp:nvSpPr>
        <dsp:cNvPr id="0" name=""/>
        <dsp:cNvSpPr/>
      </dsp:nvSpPr>
      <dsp:spPr>
        <a:xfrm>
          <a:off x="886455" y="1901142"/>
          <a:ext cx="6275040" cy="380094"/>
        </a:xfrm>
        <a:prstGeom prst="roundRect">
          <a:avLst/>
        </a:prstGeom>
        <a:solidFill>
          <a:schemeClr val="accent1">
            <a:shade val="50000"/>
            <a:hueOff val="723141"/>
            <a:satOff val="-38898"/>
            <a:lumOff val="430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kern="1200" dirty="0"/>
            <a:t>Sistemas</a:t>
          </a:r>
        </a:p>
      </dsp:txBody>
      <dsp:txXfrm>
        <a:off x="905010" y="1919697"/>
        <a:ext cx="6237930" cy="342984"/>
      </dsp:txXfrm>
    </dsp:sp>
    <dsp:sp modelId="{F7D3DD4A-17CB-4249-8898-624316825668}">
      <dsp:nvSpPr>
        <dsp:cNvPr id="0" name=""/>
        <dsp:cNvSpPr/>
      </dsp:nvSpPr>
      <dsp:spPr>
        <a:xfrm>
          <a:off x="648896" y="1853630"/>
          <a:ext cx="475118" cy="475118"/>
        </a:xfrm>
        <a:prstGeom prst="ellipse">
          <a:avLst/>
        </a:prstGeom>
        <a:blipFill rotWithShape="0">
          <a:blip xmlns:r="http://schemas.openxmlformats.org/officeDocument/2006/relationships" r:embed="rId2"/>
          <a:stretch>
            <a:fillRect/>
          </a:stretch>
        </a:blipFill>
        <a:ln w="12700" cap="flat" cmpd="sng" algn="ctr">
          <a:solidFill>
            <a:schemeClr val="accent1">
              <a:shade val="50000"/>
              <a:hueOff val="723141"/>
              <a:satOff val="-38898"/>
              <a:lumOff val="430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DFCBA9-2362-4E5A-9B2B-C2639B521A5F}">
      <dsp:nvSpPr>
        <dsp:cNvPr id="0" name=""/>
        <dsp:cNvSpPr/>
      </dsp:nvSpPr>
      <dsp:spPr>
        <a:xfrm>
          <a:off x="826228" y="2471618"/>
          <a:ext cx="6335266" cy="380094"/>
        </a:xfrm>
        <a:prstGeom prst="roundRect">
          <a:avLst/>
        </a:prstGeom>
        <a:solidFill>
          <a:schemeClr val="accent1">
            <a:shade val="50000"/>
            <a:hueOff val="723141"/>
            <a:satOff val="-38898"/>
            <a:lumOff val="430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MX" sz="2000" kern="1200" dirty="0"/>
            <a:t>Siniestros y Operaciones</a:t>
          </a:r>
          <a:endParaRPr lang="es-ES_tradnl" sz="2500" kern="1200" dirty="0"/>
        </a:p>
      </dsp:txBody>
      <dsp:txXfrm>
        <a:off x="844783" y="2490173"/>
        <a:ext cx="6298156" cy="342984"/>
      </dsp:txXfrm>
    </dsp:sp>
    <dsp:sp modelId="{104055FB-A23E-41D7-80C5-AAC75AAD7A84}">
      <dsp:nvSpPr>
        <dsp:cNvPr id="0" name=""/>
        <dsp:cNvSpPr/>
      </dsp:nvSpPr>
      <dsp:spPr>
        <a:xfrm>
          <a:off x="588669" y="2424106"/>
          <a:ext cx="475118" cy="475118"/>
        </a:xfrm>
        <a:prstGeom prst="ellipse">
          <a:avLst/>
        </a:prstGeom>
        <a:blipFill rotWithShape="0">
          <a:blip xmlns:r="http://schemas.openxmlformats.org/officeDocument/2006/relationships" r:embed="rId3"/>
          <a:stretch>
            <a:fillRect/>
          </a:stretch>
        </a:blipFill>
        <a:ln w="12700" cap="flat" cmpd="sng" algn="ctr">
          <a:solidFill>
            <a:schemeClr val="accent1">
              <a:shade val="50000"/>
              <a:hueOff val="723141"/>
              <a:satOff val="-38898"/>
              <a:lumOff val="4306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BC10D1-7919-4006-94D4-F449DE9636D0}">
      <dsp:nvSpPr>
        <dsp:cNvPr id="0" name=""/>
        <dsp:cNvSpPr/>
      </dsp:nvSpPr>
      <dsp:spPr>
        <a:xfrm>
          <a:off x="637603" y="3041676"/>
          <a:ext cx="6523891" cy="380094"/>
        </a:xfrm>
        <a:prstGeom prst="roundRect">
          <a:avLst/>
        </a:prstGeom>
        <a:solidFill>
          <a:schemeClr val="accent1">
            <a:shade val="50000"/>
            <a:hueOff val="482094"/>
            <a:satOff val="-25932"/>
            <a:lumOff val="287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b="0" kern="1200" dirty="0"/>
            <a:t>Cobranzas</a:t>
          </a:r>
        </a:p>
      </dsp:txBody>
      <dsp:txXfrm>
        <a:off x="656158" y="3060231"/>
        <a:ext cx="6486781" cy="342984"/>
      </dsp:txXfrm>
    </dsp:sp>
    <dsp:sp modelId="{0EE97124-F7ED-4E20-945D-05ADF5C2E021}">
      <dsp:nvSpPr>
        <dsp:cNvPr id="0" name=""/>
        <dsp:cNvSpPr/>
      </dsp:nvSpPr>
      <dsp:spPr>
        <a:xfrm>
          <a:off x="400044" y="2994165"/>
          <a:ext cx="475118" cy="475118"/>
        </a:xfrm>
        <a:prstGeom prst="ellipse">
          <a:avLst/>
        </a:prstGeom>
        <a:solidFill>
          <a:schemeClr val="lt1">
            <a:hueOff val="0"/>
            <a:satOff val="0"/>
            <a:lumOff val="0"/>
            <a:alphaOff val="0"/>
          </a:schemeClr>
        </a:solidFill>
        <a:ln w="12700" cap="flat" cmpd="sng" algn="ctr">
          <a:solidFill>
            <a:schemeClr val="accent1">
              <a:shade val="50000"/>
              <a:hueOff val="482094"/>
              <a:satOff val="-25932"/>
              <a:lumOff val="28707"/>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877450-218E-44AA-BD1E-B4A96C90A4A3}">
      <dsp:nvSpPr>
        <dsp:cNvPr id="0" name=""/>
        <dsp:cNvSpPr/>
      </dsp:nvSpPr>
      <dsp:spPr>
        <a:xfrm>
          <a:off x="293393" y="3612153"/>
          <a:ext cx="6868101" cy="380094"/>
        </a:xfrm>
        <a:prstGeom prst="rect">
          <a:avLst/>
        </a:prstGeom>
        <a:solidFill>
          <a:schemeClr val="accent1">
            <a:shade val="50000"/>
            <a:hueOff val="241047"/>
            <a:satOff val="-12966"/>
            <a:lumOff val="14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00" tIns="50800" rIns="50800" bIns="50800" numCol="1" spcCol="1270" anchor="ctr" anchorCtr="0">
          <a:noAutofit/>
        </a:bodyPr>
        <a:lstStyle/>
        <a:p>
          <a:pPr marL="0" lvl="0" indent="0" algn="l" defTabSz="889000">
            <a:lnSpc>
              <a:spcPct val="90000"/>
            </a:lnSpc>
            <a:spcBef>
              <a:spcPct val="0"/>
            </a:spcBef>
            <a:spcAft>
              <a:spcPct val="35000"/>
            </a:spcAft>
            <a:buNone/>
          </a:pPr>
          <a:r>
            <a:rPr lang="es-ES_tradnl" sz="2000" b="0" kern="1200" dirty="0"/>
            <a:t>Proyección de Ventas</a:t>
          </a:r>
        </a:p>
      </dsp:txBody>
      <dsp:txXfrm>
        <a:off x="293393" y="3612153"/>
        <a:ext cx="6868101" cy="380094"/>
      </dsp:txXfrm>
    </dsp:sp>
    <dsp:sp modelId="{557BD285-937A-4A8E-A656-0F05BADE1FB7}">
      <dsp:nvSpPr>
        <dsp:cNvPr id="0" name=""/>
        <dsp:cNvSpPr/>
      </dsp:nvSpPr>
      <dsp:spPr>
        <a:xfrm>
          <a:off x="55834" y="3564641"/>
          <a:ext cx="475118" cy="475118"/>
        </a:xfrm>
        <a:prstGeom prst="ellipse">
          <a:avLst/>
        </a:prstGeom>
        <a:solidFill>
          <a:schemeClr val="lt1">
            <a:hueOff val="0"/>
            <a:satOff val="0"/>
            <a:lumOff val="0"/>
            <a:alphaOff val="0"/>
          </a:schemeClr>
        </a:solidFill>
        <a:ln w="12700" cap="flat" cmpd="sng" algn="ctr">
          <a:solidFill>
            <a:schemeClr val="accent1">
              <a:shade val="50000"/>
              <a:hueOff val="241047"/>
              <a:satOff val="-12966"/>
              <a:lumOff val="14353"/>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FE3BB-FB03-40A2-A6AE-CB348EBEA751}" type="datetimeFigureOut">
              <a:rPr lang="en-GB" smtClean="0"/>
              <a:t>24/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14C91C-A3BC-428D-B4CB-218BCCBFCDB2}" type="slidenum">
              <a:rPr lang="en-GB" smtClean="0"/>
              <a:t>‹Nº›</a:t>
            </a:fld>
            <a:endParaRPr lang="en-GB"/>
          </a:p>
        </p:txBody>
      </p:sp>
    </p:spTree>
    <p:extLst>
      <p:ext uri="{BB962C8B-B14F-4D97-AF65-F5344CB8AC3E}">
        <p14:creationId xmlns:p14="http://schemas.microsoft.com/office/powerpoint/2010/main" val="2662892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GB" sz="1200" b="0" dirty="0"/>
              <a:t>¿</a:t>
            </a:r>
            <a:r>
              <a:rPr lang="en-GB" sz="1200" b="0" dirty="0" err="1"/>
              <a:t>Quién</a:t>
            </a:r>
            <a:r>
              <a:rPr lang="en-GB" sz="1200" b="0" dirty="0"/>
              <a:t> de </a:t>
            </a:r>
            <a:r>
              <a:rPr lang="en-GB" sz="1200" b="0" dirty="0" err="1"/>
              <a:t>ustedes</a:t>
            </a:r>
            <a:r>
              <a:rPr lang="en-GB" sz="1200" b="0" dirty="0"/>
              <a:t> </a:t>
            </a:r>
            <a:r>
              <a:rPr lang="en-GB" sz="1200" b="0" dirty="0" err="1"/>
              <a:t>tarifica</a:t>
            </a:r>
            <a:r>
              <a:rPr lang="en-GB" sz="1200" b="0" dirty="0"/>
              <a:t> </a:t>
            </a:r>
            <a:r>
              <a:rPr lang="en-GB" sz="1200" b="0" dirty="0" err="1"/>
              <a:t>vida</a:t>
            </a:r>
            <a:r>
              <a:rPr lang="en-GB" sz="1200" b="0" dirty="0"/>
              <a:t> </a:t>
            </a:r>
            <a:r>
              <a:rPr lang="en-GB" sz="1200" b="0" dirty="0" err="1"/>
              <a:t>grupo</a:t>
            </a:r>
            <a:r>
              <a:rPr lang="en-GB" sz="1200" b="0" dirty="0"/>
              <a:t>?</a:t>
            </a:r>
          </a:p>
          <a:p>
            <a:pPr marL="342900" indent="-342900">
              <a:buFont typeface="+mj-lt"/>
              <a:buAutoNum type="arabicPeriod"/>
            </a:pPr>
            <a:r>
              <a:rPr lang="en-GB" sz="1200" b="0" dirty="0"/>
              <a:t>¿</a:t>
            </a:r>
            <a:r>
              <a:rPr lang="en-GB" sz="1200" b="0" dirty="0" err="1"/>
              <a:t>Quién</a:t>
            </a:r>
            <a:r>
              <a:rPr lang="en-GB" sz="1200" b="0" dirty="0"/>
              <a:t> </a:t>
            </a:r>
            <a:r>
              <a:rPr lang="en-GB" sz="1200" b="0" dirty="0" err="1"/>
              <a:t>tiene</a:t>
            </a:r>
            <a:r>
              <a:rPr lang="en-GB" sz="1200" b="0" dirty="0"/>
              <a:t> </a:t>
            </a:r>
            <a:r>
              <a:rPr lang="en-GB" sz="1200" b="0" dirty="0" err="1"/>
              <a:t>conocimiento</a:t>
            </a:r>
            <a:r>
              <a:rPr lang="en-GB" sz="1200" b="0" dirty="0"/>
              <a:t> de </a:t>
            </a:r>
            <a:r>
              <a:rPr lang="en-GB" sz="1200" b="0" dirty="0" err="1"/>
              <a:t>probabilidad</a:t>
            </a:r>
            <a:r>
              <a:rPr lang="en-GB" sz="1200" b="0" dirty="0"/>
              <a:t> </a:t>
            </a:r>
            <a:r>
              <a:rPr lang="en-GB" sz="1200" b="0" dirty="0" err="1"/>
              <a:t>en</a:t>
            </a:r>
            <a:r>
              <a:rPr lang="en-GB" sz="1200" b="0" dirty="0"/>
              <a:t> general?</a:t>
            </a:r>
          </a:p>
          <a:p>
            <a:pPr marL="342900" indent="-342900">
              <a:buFont typeface="+mj-lt"/>
              <a:buAutoNum type="arabicPeriod"/>
            </a:pPr>
            <a:r>
              <a:rPr lang="en-GB" sz="1200" b="0" dirty="0"/>
              <a:t>¿</a:t>
            </a:r>
            <a:r>
              <a:rPr lang="en-GB" sz="1200" b="0" dirty="0" err="1"/>
              <a:t>Quién</a:t>
            </a:r>
            <a:r>
              <a:rPr lang="en-GB" sz="1200" b="0" dirty="0"/>
              <a:t> ha visto </a:t>
            </a:r>
            <a:r>
              <a:rPr lang="en-GB" sz="1200" b="0" dirty="0" err="1"/>
              <a:t>su</a:t>
            </a:r>
            <a:r>
              <a:rPr lang="en-GB" sz="1200" b="0" dirty="0"/>
              <a:t> </a:t>
            </a:r>
            <a:r>
              <a:rPr lang="en-GB" sz="1200" b="0" dirty="0" err="1"/>
              <a:t>contrato</a:t>
            </a:r>
            <a:r>
              <a:rPr lang="en-GB" sz="1200" b="0" dirty="0"/>
              <a:t> VG de Reaseguro?</a:t>
            </a:r>
          </a:p>
          <a:p>
            <a:endParaRPr lang="en-GB" dirty="0"/>
          </a:p>
        </p:txBody>
      </p:sp>
      <p:sp>
        <p:nvSpPr>
          <p:cNvPr id="4" name="Slide Number Placeholder 3"/>
          <p:cNvSpPr>
            <a:spLocks noGrp="1"/>
          </p:cNvSpPr>
          <p:nvPr>
            <p:ph type="sldNum" sz="quarter" idx="5"/>
          </p:nvPr>
        </p:nvSpPr>
        <p:spPr/>
        <p:txBody>
          <a:bodyPr/>
          <a:lstStyle/>
          <a:p>
            <a:fld id="{40500AC3-D0E7-4016-A742-2970813A0ADF}" type="slidenum">
              <a:rPr lang="en-GB" smtClean="0"/>
              <a:t>2</a:t>
            </a:fld>
            <a:endParaRPr lang="en-GB"/>
          </a:p>
        </p:txBody>
      </p:sp>
    </p:spTree>
    <p:extLst>
      <p:ext uri="{BB962C8B-B14F-4D97-AF65-F5344CB8AC3E}">
        <p14:creationId xmlns:p14="http://schemas.microsoft.com/office/powerpoint/2010/main" val="278764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dirty="0" err="1"/>
              <a:t>Ciclo</a:t>
            </a:r>
            <a:r>
              <a:rPr lang="de-DE" b="0" dirty="0"/>
              <a:t> de </a:t>
            </a:r>
            <a:r>
              <a:rPr lang="de-DE" b="0" dirty="0" err="1"/>
              <a:t>control</a:t>
            </a:r>
            <a:r>
              <a:rPr lang="de-DE" b="0" dirty="0"/>
              <a:t> </a:t>
            </a:r>
            <a:r>
              <a:rPr lang="de-DE" b="0" dirty="0" err="1"/>
              <a:t>actuarial</a:t>
            </a:r>
            <a:r>
              <a:rPr lang="de-DE" b="0" dirty="0"/>
              <a:t>, </a:t>
            </a:r>
            <a:r>
              <a:rPr lang="de-DE" b="0" dirty="0" err="1"/>
              <a:t>qué</a:t>
            </a:r>
            <a:r>
              <a:rPr lang="de-DE" b="0" dirty="0"/>
              <a:t> es?</a:t>
            </a:r>
          </a:p>
          <a:p>
            <a:r>
              <a:rPr lang="de-DE" b="0" dirty="0" err="1"/>
              <a:t>Cuando</a:t>
            </a:r>
            <a:r>
              <a:rPr lang="de-DE" b="0" dirty="0"/>
              <a:t> </a:t>
            </a:r>
            <a:r>
              <a:rPr lang="de-DE" b="0" dirty="0" err="1"/>
              <a:t>tenemos</a:t>
            </a:r>
            <a:r>
              <a:rPr lang="de-DE" b="0" dirty="0"/>
              <a:t> </a:t>
            </a:r>
            <a:r>
              <a:rPr lang="de-DE" b="0" dirty="0" err="1"/>
              <a:t>un</a:t>
            </a:r>
            <a:r>
              <a:rPr lang="de-DE" b="0" dirty="0"/>
              <a:t> </a:t>
            </a:r>
            <a:r>
              <a:rPr lang="de-DE" b="0" dirty="0" err="1"/>
              <a:t>problema</a:t>
            </a:r>
            <a:r>
              <a:rPr lang="de-DE" b="0" dirty="0"/>
              <a:t> </a:t>
            </a:r>
            <a:r>
              <a:rPr lang="de-DE" b="0" dirty="0" err="1"/>
              <a:t>que</a:t>
            </a:r>
            <a:r>
              <a:rPr lang="de-DE" b="0" dirty="0"/>
              <a:t> </a:t>
            </a:r>
            <a:r>
              <a:rPr lang="de-DE" b="0" dirty="0" err="1"/>
              <a:t>abarcar</a:t>
            </a:r>
            <a:r>
              <a:rPr lang="de-DE" b="0" dirty="0"/>
              <a:t>, </a:t>
            </a:r>
            <a:r>
              <a:rPr lang="de-DE" b="0" dirty="0" err="1"/>
              <a:t>el</a:t>
            </a:r>
            <a:r>
              <a:rPr lang="de-DE" b="0" dirty="0"/>
              <a:t> primer </a:t>
            </a:r>
            <a:r>
              <a:rPr lang="de-DE" b="0" dirty="0" err="1"/>
              <a:t>paso</a:t>
            </a:r>
            <a:r>
              <a:rPr lang="de-DE" b="0" dirty="0"/>
              <a:t> es </a:t>
            </a:r>
            <a:r>
              <a:rPr lang="de-DE" b="0" dirty="0" err="1"/>
              <a:t>identificarlo</a:t>
            </a:r>
            <a:r>
              <a:rPr lang="de-DE" b="0" dirty="0"/>
              <a:t> y </a:t>
            </a:r>
            <a:r>
              <a:rPr lang="de-DE" b="0" dirty="0" err="1"/>
              <a:t>concretarlo</a:t>
            </a:r>
            <a:r>
              <a:rPr lang="de-DE" b="0" dirty="0"/>
              <a:t>;</a:t>
            </a:r>
          </a:p>
          <a:p>
            <a:r>
              <a:rPr lang="de-DE" b="0" dirty="0" err="1"/>
              <a:t>el</a:t>
            </a:r>
            <a:r>
              <a:rPr lang="de-DE" b="0" dirty="0"/>
              <a:t> </a:t>
            </a:r>
            <a:r>
              <a:rPr lang="de-DE" b="0" dirty="0" err="1"/>
              <a:t>siguiente</a:t>
            </a:r>
            <a:r>
              <a:rPr lang="de-DE" b="0" dirty="0"/>
              <a:t> </a:t>
            </a:r>
            <a:r>
              <a:rPr lang="de-DE" b="0" dirty="0" err="1"/>
              <a:t>paso</a:t>
            </a:r>
            <a:r>
              <a:rPr lang="de-DE" b="0" dirty="0"/>
              <a:t> es </a:t>
            </a:r>
            <a:r>
              <a:rPr lang="de-DE" b="0" dirty="0" err="1"/>
              <a:t>desarrollar</a:t>
            </a:r>
            <a:r>
              <a:rPr lang="de-DE" b="0" dirty="0"/>
              <a:t> e </a:t>
            </a:r>
            <a:r>
              <a:rPr lang="de-DE" b="0" dirty="0" err="1"/>
              <a:t>implementar</a:t>
            </a:r>
            <a:r>
              <a:rPr lang="de-DE" b="0" baseline="0" dirty="0"/>
              <a:t> </a:t>
            </a:r>
            <a:r>
              <a:rPr lang="de-DE" b="0" baseline="0" dirty="0" err="1"/>
              <a:t>una</a:t>
            </a:r>
            <a:r>
              <a:rPr lang="de-DE" b="0" baseline="0" dirty="0"/>
              <a:t> </a:t>
            </a:r>
            <a:r>
              <a:rPr lang="de-DE" b="0" baseline="0" dirty="0" err="1"/>
              <a:t>solución</a:t>
            </a:r>
            <a:r>
              <a:rPr lang="de-DE" b="0" baseline="0" dirty="0"/>
              <a:t> </a:t>
            </a:r>
            <a:r>
              <a:rPr lang="de-DE" b="0" dirty="0"/>
              <a:t>y </a:t>
            </a:r>
            <a:r>
              <a:rPr lang="de-DE" b="0" dirty="0" err="1"/>
              <a:t>el</a:t>
            </a:r>
            <a:r>
              <a:rPr lang="de-DE" b="0" dirty="0"/>
              <a:t> </a:t>
            </a:r>
            <a:r>
              <a:rPr lang="de-DE" b="0" dirty="0" err="1"/>
              <a:t>último</a:t>
            </a:r>
            <a:r>
              <a:rPr lang="de-DE" b="0" dirty="0"/>
              <a:t> </a:t>
            </a:r>
            <a:r>
              <a:rPr lang="de-DE" b="0" dirty="0" err="1"/>
              <a:t>monitorear</a:t>
            </a:r>
            <a:r>
              <a:rPr lang="de-DE" b="0" dirty="0"/>
              <a:t> </a:t>
            </a:r>
            <a:r>
              <a:rPr lang="de-DE" b="0" dirty="0" err="1"/>
              <a:t>esa</a:t>
            </a:r>
            <a:r>
              <a:rPr lang="de-DE" b="0" dirty="0"/>
              <a:t> </a:t>
            </a:r>
            <a:r>
              <a:rPr lang="de-DE" b="0" dirty="0" err="1"/>
              <a:t>solución</a:t>
            </a:r>
            <a:r>
              <a:rPr lang="de-DE" b="0" dirty="0"/>
              <a:t> </a:t>
            </a:r>
            <a:r>
              <a:rPr lang="de-DE" b="0" dirty="0" err="1"/>
              <a:t>pensada</a:t>
            </a:r>
            <a:r>
              <a:rPr lang="de-DE" b="0" dirty="0"/>
              <a:t>,</a:t>
            </a:r>
          </a:p>
          <a:p>
            <a:r>
              <a:rPr lang="de-DE" b="0" dirty="0"/>
              <a:t>y </a:t>
            </a:r>
            <a:r>
              <a:rPr lang="de-DE" b="0" dirty="0" err="1"/>
              <a:t>eso</a:t>
            </a:r>
            <a:r>
              <a:rPr lang="de-DE" b="0" dirty="0"/>
              <a:t> nos </a:t>
            </a:r>
            <a:r>
              <a:rPr lang="de-DE" b="0" dirty="0" err="1"/>
              <a:t>lleva</a:t>
            </a:r>
            <a:r>
              <a:rPr lang="de-DE" b="0" dirty="0"/>
              <a:t> a </a:t>
            </a:r>
            <a:r>
              <a:rPr lang="de-DE" b="0" dirty="0" err="1"/>
              <a:t>identificar</a:t>
            </a:r>
            <a:r>
              <a:rPr lang="de-DE" b="0" baseline="0" dirty="0"/>
              <a:t> </a:t>
            </a:r>
            <a:r>
              <a:rPr lang="de-DE" b="0" baseline="0" dirty="0" err="1"/>
              <a:t>posibles</a:t>
            </a:r>
            <a:r>
              <a:rPr lang="de-DE" b="0" baseline="0" dirty="0"/>
              <a:t> </a:t>
            </a:r>
            <a:r>
              <a:rPr lang="de-DE" b="0" baseline="0" dirty="0" err="1"/>
              <a:t>problemas</a:t>
            </a:r>
            <a:r>
              <a:rPr lang="de-DE" b="0" baseline="0" dirty="0"/>
              <a:t> </a:t>
            </a:r>
            <a:r>
              <a:rPr lang="de-DE" b="0" baseline="0" dirty="0" err="1"/>
              <a:t>que</a:t>
            </a:r>
            <a:r>
              <a:rPr lang="de-DE" b="0" baseline="0" dirty="0"/>
              <a:t> </a:t>
            </a:r>
            <a:r>
              <a:rPr lang="de-DE" b="0" baseline="0" dirty="0" err="1"/>
              <a:t>vayan</a:t>
            </a:r>
            <a:r>
              <a:rPr lang="de-DE" b="0" baseline="0" dirty="0"/>
              <a:t> </a:t>
            </a:r>
            <a:r>
              <a:rPr lang="de-DE" b="0" baseline="0" dirty="0" err="1"/>
              <a:t>surgiendo</a:t>
            </a:r>
            <a:r>
              <a:rPr lang="de-DE" b="0" baseline="0" dirty="0"/>
              <a:t> y </a:t>
            </a:r>
            <a:r>
              <a:rPr lang="de-DE" b="0" baseline="0" dirty="0" err="1"/>
              <a:t>lo</a:t>
            </a:r>
            <a:r>
              <a:rPr lang="de-DE" b="0" baseline="0" dirty="0"/>
              <a:t> </a:t>
            </a:r>
            <a:r>
              <a:rPr lang="de-DE" b="0" baseline="0" dirty="0" err="1"/>
              <a:t>mismo</a:t>
            </a:r>
            <a:r>
              <a:rPr lang="de-DE" b="0" baseline="0" dirty="0"/>
              <a:t> </a:t>
            </a:r>
            <a:r>
              <a:rPr lang="de-DE" b="0" baseline="0" dirty="0" err="1"/>
              <a:t>tenemos</a:t>
            </a:r>
            <a:r>
              <a:rPr lang="de-DE" b="0" baseline="0" dirty="0"/>
              <a:t> </a:t>
            </a:r>
            <a:r>
              <a:rPr lang="de-DE" b="0" baseline="0" dirty="0" err="1"/>
              <a:t>que</a:t>
            </a:r>
            <a:r>
              <a:rPr lang="de-DE" b="0" baseline="0" dirty="0"/>
              <a:t> dar </a:t>
            </a:r>
            <a:r>
              <a:rPr lang="de-DE" b="0" baseline="0" dirty="0" err="1"/>
              <a:t>unas</a:t>
            </a:r>
            <a:r>
              <a:rPr lang="de-DE" b="0" baseline="0" dirty="0"/>
              <a:t> </a:t>
            </a:r>
            <a:r>
              <a:rPr lang="de-DE" b="0" baseline="0" dirty="0" err="1"/>
              <a:t>cuantas</a:t>
            </a:r>
            <a:r>
              <a:rPr lang="de-DE" b="0" baseline="0" dirty="0"/>
              <a:t> </a:t>
            </a:r>
            <a:r>
              <a:rPr lang="de-DE" b="0" baseline="0" dirty="0" err="1"/>
              <a:t>vueltas</a:t>
            </a:r>
            <a:r>
              <a:rPr lang="de-DE" b="0" baseline="0" dirty="0"/>
              <a:t> </a:t>
            </a:r>
            <a:r>
              <a:rPr lang="de-DE" b="0" baseline="0" dirty="0" err="1"/>
              <a:t>para</a:t>
            </a:r>
            <a:r>
              <a:rPr lang="de-DE" b="0" baseline="0" dirty="0"/>
              <a:t> </a:t>
            </a:r>
            <a:r>
              <a:rPr lang="de-DE" b="0" baseline="0" dirty="0" err="1"/>
              <a:t>llegar</a:t>
            </a:r>
            <a:r>
              <a:rPr lang="de-DE" b="0" baseline="0" dirty="0"/>
              <a:t> a la </a:t>
            </a:r>
            <a:r>
              <a:rPr lang="de-DE" b="0" baseline="0" dirty="0" err="1"/>
              <a:t>solucion</a:t>
            </a:r>
            <a:r>
              <a:rPr lang="de-DE" b="0" baseline="0" dirty="0"/>
              <a:t> final </a:t>
            </a:r>
            <a:r>
              <a:rPr lang="de-DE" b="0" baseline="0" dirty="0" err="1"/>
              <a:t>idónea</a:t>
            </a:r>
            <a:endParaRPr lang="de-DE" b="0" dirty="0"/>
          </a:p>
          <a:p>
            <a:endParaRPr lang="es-MX" dirty="0"/>
          </a:p>
        </p:txBody>
      </p:sp>
      <p:sp>
        <p:nvSpPr>
          <p:cNvPr id="4" name="Slide Number Placeholder 3"/>
          <p:cNvSpPr>
            <a:spLocks noGrp="1"/>
          </p:cNvSpPr>
          <p:nvPr>
            <p:ph type="sldNum" sz="quarter" idx="10"/>
          </p:nvPr>
        </p:nvSpPr>
        <p:spPr/>
        <p:txBody>
          <a:bodyPr/>
          <a:lstStyle/>
          <a:p>
            <a:fld id="{8A9D0B38-1640-41D3-8E5F-55B0C4EC5704}" type="slidenum">
              <a:rPr lang="en-US" smtClean="0"/>
              <a:t>3</a:t>
            </a:fld>
            <a:endParaRPr lang="en-US"/>
          </a:p>
        </p:txBody>
      </p:sp>
    </p:spTree>
    <p:extLst>
      <p:ext uri="{BB962C8B-B14F-4D97-AF65-F5344CB8AC3E}">
        <p14:creationId xmlns:p14="http://schemas.microsoft.com/office/powerpoint/2010/main" val="3201210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dirty="0" err="1"/>
              <a:t>Dónde</a:t>
            </a:r>
            <a:r>
              <a:rPr lang="de-DE" b="0" dirty="0"/>
              <a:t> </a:t>
            </a:r>
            <a:r>
              <a:rPr lang="de-DE" b="0" dirty="0" err="1"/>
              <a:t>podemos</a:t>
            </a:r>
            <a:r>
              <a:rPr lang="de-DE" b="0" dirty="0"/>
              <a:t> </a:t>
            </a:r>
            <a:r>
              <a:rPr lang="de-DE" b="0" dirty="0" err="1"/>
              <a:t>aplicar</a:t>
            </a:r>
            <a:r>
              <a:rPr lang="de-DE" b="0" dirty="0"/>
              <a:t> </a:t>
            </a:r>
            <a:r>
              <a:rPr lang="de-DE" b="0" dirty="0" err="1"/>
              <a:t>este</a:t>
            </a:r>
            <a:r>
              <a:rPr lang="de-DE" b="0" dirty="0"/>
              <a:t> </a:t>
            </a:r>
            <a:r>
              <a:rPr lang="de-DE" b="0" dirty="0" err="1"/>
              <a:t>ciclo</a:t>
            </a:r>
            <a:r>
              <a:rPr lang="de-DE" b="0" dirty="0"/>
              <a:t> de </a:t>
            </a:r>
            <a:r>
              <a:rPr lang="de-DE" b="0" dirty="0" err="1"/>
              <a:t>control</a:t>
            </a:r>
            <a:r>
              <a:rPr lang="de-DE" b="0" dirty="0"/>
              <a:t> </a:t>
            </a:r>
            <a:r>
              <a:rPr lang="de-DE" b="0" dirty="0" err="1"/>
              <a:t>actuarial</a:t>
            </a:r>
            <a:r>
              <a:rPr lang="de-DE" b="0" dirty="0"/>
              <a:t>? en </a:t>
            </a:r>
            <a:r>
              <a:rPr lang="de-DE" b="0" dirty="0" err="1"/>
              <a:t>todas</a:t>
            </a:r>
            <a:r>
              <a:rPr lang="de-DE" b="0" dirty="0"/>
              <a:t> </a:t>
            </a:r>
            <a:r>
              <a:rPr lang="de-DE" b="0" dirty="0" err="1"/>
              <a:t>estas</a:t>
            </a:r>
            <a:r>
              <a:rPr lang="de-DE" b="0" dirty="0"/>
              <a:t> </a:t>
            </a:r>
            <a:r>
              <a:rPr lang="de-DE" b="0" dirty="0" err="1"/>
              <a:t>áreas</a:t>
            </a:r>
            <a:r>
              <a:rPr lang="de-DE" b="0" dirty="0"/>
              <a:t> </a:t>
            </a:r>
            <a:r>
              <a:rPr lang="de-DE" b="0" dirty="0" err="1"/>
              <a:t>que</a:t>
            </a:r>
            <a:r>
              <a:rPr lang="de-DE" b="0" dirty="0"/>
              <a:t> </a:t>
            </a:r>
            <a:r>
              <a:rPr lang="de-DE" b="0" dirty="0" err="1"/>
              <a:t>vemos</a:t>
            </a:r>
            <a:r>
              <a:rPr lang="de-DE" b="0" dirty="0"/>
              <a:t> </a:t>
            </a:r>
            <a:r>
              <a:rPr lang="de-DE" b="0" dirty="0" err="1"/>
              <a:t>aquí</a:t>
            </a:r>
            <a:r>
              <a:rPr lang="de-DE" b="0" dirty="0"/>
              <a:t>… </a:t>
            </a:r>
          </a:p>
          <a:p>
            <a:r>
              <a:rPr lang="de-DE" b="0" dirty="0" err="1"/>
              <a:t>Agrupando</a:t>
            </a:r>
            <a:r>
              <a:rPr lang="de-DE" b="0" baseline="0" dirty="0"/>
              <a:t> </a:t>
            </a:r>
            <a:r>
              <a:rPr lang="de-DE" b="0" baseline="0" dirty="0" err="1"/>
              <a:t>es</a:t>
            </a:r>
            <a:r>
              <a:rPr lang="de-DE" b="0" dirty="0" err="1"/>
              <a:t>tos</a:t>
            </a:r>
            <a:r>
              <a:rPr lang="de-DE" b="0" dirty="0"/>
              <a:t> </a:t>
            </a:r>
            <a:r>
              <a:rPr lang="de-DE" b="0" dirty="0" err="1"/>
              <a:t>puntos</a:t>
            </a:r>
            <a:r>
              <a:rPr lang="de-DE" b="0" dirty="0"/>
              <a:t> de dos en dos, </a:t>
            </a:r>
            <a:r>
              <a:rPr lang="de-DE" b="0" dirty="0" err="1"/>
              <a:t>tendríamos</a:t>
            </a:r>
            <a:r>
              <a:rPr lang="de-DE" b="0" dirty="0"/>
              <a:t> los 4 </a:t>
            </a:r>
            <a:r>
              <a:rPr lang="de-DE" b="0" dirty="0" err="1"/>
              <a:t>módulos</a:t>
            </a:r>
            <a:r>
              <a:rPr lang="de-DE" b="0" dirty="0"/>
              <a:t> de</a:t>
            </a:r>
            <a:r>
              <a:rPr lang="de-DE" b="0" baseline="0" dirty="0"/>
              <a:t> </a:t>
            </a:r>
            <a:r>
              <a:rPr lang="de-DE" b="0" baseline="0" dirty="0" err="1"/>
              <a:t>nuestro</a:t>
            </a:r>
            <a:r>
              <a:rPr lang="de-DE" b="0" baseline="0" dirty="0"/>
              <a:t> </a:t>
            </a:r>
            <a:r>
              <a:rPr lang="de-DE" b="0" baseline="0" dirty="0" err="1"/>
              <a:t>workshop</a:t>
            </a:r>
            <a:r>
              <a:rPr lang="de-DE" b="0" dirty="0"/>
              <a:t>.</a:t>
            </a:r>
          </a:p>
          <a:p>
            <a:endParaRPr lang="en-GB" dirty="0"/>
          </a:p>
        </p:txBody>
      </p:sp>
      <p:sp>
        <p:nvSpPr>
          <p:cNvPr id="4" name="Slide Number Placeholder 3"/>
          <p:cNvSpPr>
            <a:spLocks noGrp="1"/>
          </p:cNvSpPr>
          <p:nvPr>
            <p:ph type="sldNum" sz="quarter" idx="5"/>
          </p:nvPr>
        </p:nvSpPr>
        <p:spPr/>
        <p:txBody>
          <a:bodyPr/>
          <a:lstStyle/>
          <a:p>
            <a:fld id="{8A9D0B38-1640-41D3-8E5F-55B0C4EC5704}" type="slidenum">
              <a:rPr lang="en-US" smtClean="0"/>
              <a:t>4</a:t>
            </a:fld>
            <a:endParaRPr lang="en-US"/>
          </a:p>
        </p:txBody>
      </p:sp>
    </p:spTree>
    <p:extLst>
      <p:ext uri="{BB962C8B-B14F-4D97-AF65-F5344CB8AC3E}">
        <p14:creationId xmlns:p14="http://schemas.microsoft.com/office/powerpoint/2010/main" val="2675626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dirty="0"/>
              <a:t>555 </a:t>
            </a:r>
            <a:r>
              <a:rPr lang="de-DE" b="0" dirty="0" err="1"/>
              <a:t>Ahora</a:t>
            </a:r>
            <a:r>
              <a:rPr lang="de-DE" b="0" dirty="0"/>
              <a:t> </a:t>
            </a:r>
            <a:r>
              <a:rPr lang="de-DE" b="0" dirty="0" err="1"/>
              <a:t>el</a:t>
            </a:r>
            <a:r>
              <a:rPr lang="de-DE" b="0" dirty="0"/>
              <a:t> </a:t>
            </a:r>
            <a:r>
              <a:rPr lang="de-DE" b="0" dirty="0" err="1"/>
              <a:t>objetivo</a:t>
            </a:r>
            <a:r>
              <a:rPr lang="de-DE" b="0" dirty="0"/>
              <a:t> es </a:t>
            </a:r>
            <a:r>
              <a:rPr lang="de-DE" b="0" dirty="0" err="1"/>
              <a:t>ver</a:t>
            </a:r>
            <a:r>
              <a:rPr lang="de-DE" b="0" baseline="0" dirty="0"/>
              <a:t> </a:t>
            </a:r>
            <a:r>
              <a:rPr lang="de-DE" b="0" baseline="0" dirty="0" err="1"/>
              <a:t>un</a:t>
            </a:r>
            <a:r>
              <a:rPr lang="de-DE" b="0" baseline="0" dirty="0"/>
              <a:t> </a:t>
            </a:r>
            <a:r>
              <a:rPr lang="de-DE" b="0" baseline="0" dirty="0" err="1"/>
              <a:t>ejemplo</a:t>
            </a:r>
            <a:r>
              <a:rPr lang="de-DE" b="0" baseline="0" dirty="0"/>
              <a:t> en la </a:t>
            </a:r>
            <a:r>
              <a:rPr lang="de-DE" b="0" baseline="0" dirty="0" err="1"/>
              <a:t>situación</a:t>
            </a:r>
            <a:r>
              <a:rPr lang="de-DE" b="0" baseline="0" dirty="0"/>
              <a:t> de </a:t>
            </a:r>
            <a:r>
              <a:rPr lang="de-DE" b="0" baseline="0" dirty="0" err="1"/>
              <a:t>disenhar</a:t>
            </a:r>
            <a:r>
              <a:rPr lang="de-DE" b="0" baseline="0" dirty="0"/>
              <a:t> </a:t>
            </a:r>
            <a:r>
              <a:rPr lang="de-DE" b="0" baseline="0" dirty="0" err="1"/>
              <a:t>un</a:t>
            </a:r>
            <a:r>
              <a:rPr lang="de-DE" b="0" baseline="0" dirty="0"/>
              <a:t> producto. </a:t>
            </a:r>
          </a:p>
          <a:p>
            <a:r>
              <a:rPr lang="de-DE" b="0" baseline="0" dirty="0"/>
              <a:t>El primer </a:t>
            </a:r>
            <a:r>
              <a:rPr lang="de-DE" b="0" baseline="0" dirty="0" err="1"/>
              <a:t>paso</a:t>
            </a:r>
            <a:r>
              <a:rPr lang="de-DE" b="0" baseline="0" dirty="0"/>
              <a:t> </a:t>
            </a:r>
            <a:r>
              <a:rPr lang="de-DE" b="0" baseline="0" dirty="0" err="1"/>
              <a:t>pues</a:t>
            </a:r>
            <a:r>
              <a:rPr lang="de-DE" b="0" baseline="0" dirty="0"/>
              <a:t> es </a:t>
            </a:r>
            <a:r>
              <a:rPr lang="de-DE" b="0" baseline="0" dirty="0" err="1"/>
              <a:t>definir</a:t>
            </a:r>
            <a:r>
              <a:rPr lang="de-DE" b="0" baseline="0" dirty="0"/>
              <a:t> </a:t>
            </a:r>
            <a:r>
              <a:rPr lang="de-DE" b="0" baseline="0" dirty="0" err="1"/>
              <a:t>el</a:t>
            </a:r>
            <a:r>
              <a:rPr lang="de-DE" b="0" baseline="0" dirty="0"/>
              <a:t> </a:t>
            </a:r>
            <a:r>
              <a:rPr lang="de-DE" b="0" baseline="0" dirty="0" err="1"/>
              <a:t>problema</a:t>
            </a:r>
            <a:r>
              <a:rPr lang="de-DE" b="0" baseline="0" dirty="0"/>
              <a:t>: leer</a:t>
            </a:r>
          </a:p>
          <a:p>
            <a:r>
              <a:rPr lang="de-DE" b="0" baseline="0" dirty="0" err="1"/>
              <a:t>el</a:t>
            </a:r>
            <a:r>
              <a:rPr lang="de-DE" b="0" baseline="0" dirty="0"/>
              <a:t> </a:t>
            </a:r>
            <a:r>
              <a:rPr lang="de-DE" b="0" baseline="0" dirty="0" err="1"/>
              <a:t>segungo</a:t>
            </a:r>
            <a:r>
              <a:rPr lang="de-DE" b="0" baseline="0" dirty="0"/>
              <a:t> es </a:t>
            </a:r>
            <a:r>
              <a:rPr lang="de-DE" b="0" baseline="0" dirty="0" err="1"/>
              <a:t>el</a:t>
            </a:r>
            <a:r>
              <a:rPr lang="de-DE" b="0" baseline="0" dirty="0"/>
              <a:t> </a:t>
            </a:r>
            <a:r>
              <a:rPr lang="de-DE" b="0" baseline="0" dirty="0" err="1"/>
              <a:t>disenho</a:t>
            </a:r>
            <a:r>
              <a:rPr lang="de-DE" b="0" baseline="0" dirty="0"/>
              <a:t> del producto</a:t>
            </a:r>
          </a:p>
          <a:p>
            <a:r>
              <a:rPr lang="de-DE" b="0" baseline="0" dirty="0"/>
              <a:t>y en </a:t>
            </a:r>
            <a:r>
              <a:rPr lang="de-DE" b="0" baseline="0" dirty="0" err="1"/>
              <a:t>el</a:t>
            </a:r>
            <a:r>
              <a:rPr lang="de-DE" b="0" baseline="0" dirty="0"/>
              <a:t> ultimo </a:t>
            </a:r>
            <a:r>
              <a:rPr lang="de-DE" b="0" baseline="0" dirty="0" err="1"/>
              <a:t>revisar</a:t>
            </a:r>
            <a:r>
              <a:rPr lang="de-DE" b="0" baseline="0" dirty="0"/>
              <a:t> </a:t>
            </a:r>
            <a:r>
              <a:rPr lang="de-DE" b="0" baseline="0" dirty="0" err="1"/>
              <a:t>el</a:t>
            </a:r>
            <a:r>
              <a:rPr lang="de-DE" b="0" baseline="0" dirty="0"/>
              <a:t> producto y </a:t>
            </a:r>
            <a:r>
              <a:rPr lang="de-DE" b="0" baseline="0" dirty="0" err="1"/>
              <a:t>ver</a:t>
            </a:r>
            <a:r>
              <a:rPr lang="de-DE" b="0" baseline="0" dirty="0"/>
              <a:t> </a:t>
            </a:r>
            <a:r>
              <a:rPr lang="de-DE" b="0" baseline="0" dirty="0" err="1"/>
              <a:t>con</a:t>
            </a:r>
            <a:r>
              <a:rPr lang="de-DE" b="0" baseline="0" dirty="0"/>
              <a:t> la </a:t>
            </a:r>
            <a:r>
              <a:rPr lang="de-DE" b="0" baseline="0" dirty="0" err="1"/>
              <a:t>práctica</a:t>
            </a:r>
            <a:r>
              <a:rPr lang="de-DE" b="0" baseline="0" dirty="0"/>
              <a:t> es </a:t>
            </a:r>
            <a:r>
              <a:rPr lang="de-DE" b="0" baseline="0" dirty="0" err="1"/>
              <a:t>necesario</a:t>
            </a:r>
            <a:r>
              <a:rPr lang="de-DE" b="0" baseline="0" dirty="0"/>
              <a:t> </a:t>
            </a:r>
            <a:r>
              <a:rPr lang="de-DE" b="0" baseline="0" dirty="0" err="1"/>
              <a:t>hacer</a:t>
            </a:r>
            <a:r>
              <a:rPr lang="de-DE" b="0" baseline="0" dirty="0"/>
              <a:t> </a:t>
            </a:r>
            <a:r>
              <a:rPr lang="de-DE" b="0" baseline="0" dirty="0" err="1"/>
              <a:t>algún</a:t>
            </a:r>
            <a:r>
              <a:rPr lang="de-DE" b="0" baseline="0" dirty="0"/>
              <a:t> </a:t>
            </a:r>
            <a:r>
              <a:rPr lang="de-DE" b="0" baseline="0" dirty="0" err="1"/>
              <a:t>cambio</a:t>
            </a:r>
            <a:r>
              <a:rPr lang="de-DE" b="0" baseline="0" dirty="0"/>
              <a:t>, y </a:t>
            </a:r>
            <a:r>
              <a:rPr lang="de-DE" b="0" baseline="0" dirty="0" err="1"/>
              <a:t>esto</a:t>
            </a:r>
            <a:r>
              <a:rPr lang="de-DE" b="0" baseline="0" dirty="0"/>
              <a:t> nos </a:t>
            </a:r>
            <a:r>
              <a:rPr lang="de-DE" b="0" baseline="0" dirty="0" err="1"/>
              <a:t>llevaría</a:t>
            </a:r>
            <a:r>
              <a:rPr lang="de-DE" b="0" baseline="0" dirty="0"/>
              <a:t> al primer </a:t>
            </a:r>
            <a:r>
              <a:rPr lang="de-DE" b="0" baseline="0" dirty="0" err="1"/>
              <a:t>paso</a:t>
            </a:r>
            <a:r>
              <a:rPr lang="de-DE" b="0" baseline="0" dirty="0"/>
              <a:t> de </a:t>
            </a:r>
            <a:r>
              <a:rPr lang="de-DE" b="0" baseline="0" dirty="0" err="1"/>
              <a:t>nuevo</a:t>
            </a:r>
            <a:r>
              <a:rPr lang="de-DE" b="0" baseline="0" dirty="0"/>
              <a:t>, en forma </a:t>
            </a:r>
            <a:r>
              <a:rPr lang="de-DE" b="0" baseline="0" dirty="0" err="1"/>
              <a:t>cíclica</a:t>
            </a:r>
            <a:endParaRPr lang="de-DE" b="0" dirty="0"/>
          </a:p>
          <a:p>
            <a:endParaRPr lang="en-GB" dirty="0"/>
          </a:p>
        </p:txBody>
      </p:sp>
      <p:sp>
        <p:nvSpPr>
          <p:cNvPr id="4" name="Slide Number Placeholder 3"/>
          <p:cNvSpPr>
            <a:spLocks noGrp="1"/>
          </p:cNvSpPr>
          <p:nvPr>
            <p:ph type="sldNum" sz="quarter" idx="5"/>
          </p:nvPr>
        </p:nvSpPr>
        <p:spPr/>
        <p:txBody>
          <a:bodyPr/>
          <a:lstStyle/>
          <a:p>
            <a:fld id="{8A9D0B38-1640-41D3-8E5F-55B0C4EC5704}" type="slidenum">
              <a:rPr lang="en-US" smtClean="0"/>
              <a:t>5</a:t>
            </a:fld>
            <a:endParaRPr lang="en-US"/>
          </a:p>
        </p:txBody>
      </p:sp>
    </p:spTree>
    <p:extLst>
      <p:ext uri="{BB962C8B-B14F-4D97-AF65-F5344CB8AC3E}">
        <p14:creationId xmlns:p14="http://schemas.microsoft.com/office/powerpoint/2010/main" val="41233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7:10 </a:t>
            </a:r>
            <a:r>
              <a:rPr lang="en-US" b="0" dirty="0" err="1"/>
              <a:t>Veamos</a:t>
            </a:r>
            <a:r>
              <a:rPr lang="en-US" b="0" baseline="0" dirty="0"/>
              <a:t> </a:t>
            </a:r>
            <a:r>
              <a:rPr lang="en-US" b="0" baseline="0" dirty="0" err="1"/>
              <a:t>resumidamente</a:t>
            </a:r>
            <a:r>
              <a:rPr lang="en-US" b="0" baseline="0" dirty="0"/>
              <a:t> de </a:t>
            </a:r>
            <a:r>
              <a:rPr lang="en-US" b="0" baseline="0" dirty="0" err="1"/>
              <a:t>qué</a:t>
            </a:r>
            <a:r>
              <a:rPr lang="en-US" b="0" baseline="0" dirty="0"/>
              <a:t> se </a:t>
            </a:r>
            <a:r>
              <a:rPr lang="en-US" b="0" baseline="0" dirty="0" err="1"/>
              <a:t>trata</a:t>
            </a:r>
            <a:r>
              <a:rPr lang="en-US" b="0" baseline="0" dirty="0"/>
              <a:t> </a:t>
            </a:r>
            <a:r>
              <a:rPr lang="en-US" b="0" baseline="0" dirty="0" err="1"/>
              <a:t>el</a:t>
            </a:r>
            <a:r>
              <a:rPr lang="en-US" b="0" baseline="0" dirty="0"/>
              <a:t> Design Thinking.</a:t>
            </a:r>
          </a:p>
          <a:p>
            <a:r>
              <a:rPr lang="en-US" b="0" dirty="0"/>
              <a:t>En </a:t>
            </a:r>
            <a:r>
              <a:rPr lang="en-US" b="0" dirty="0" err="1"/>
              <a:t>el</a:t>
            </a:r>
            <a:r>
              <a:rPr lang="en-US" b="0" dirty="0"/>
              <a:t> business Thinking </a:t>
            </a:r>
            <a:r>
              <a:rPr lang="en-US" b="0" dirty="0" err="1"/>
              <a:t>miraríamos</a:t>
            </a:r>
            <a:r>
              <a:rPr lang="en-US" b="0" dirty="0"/>
              <a:t> </a:t>
            </a:r>
            <a:r>
              <a:rPr lang="en-US" b="0" dirty="0" err="1"/>
              <a:t>si</a:t>
            </a:r>
            <a:r>
              <a:rPr lang="en-US" b="0" dirty="0"/>
              <a:t> </a:t>
            </a:r>
            <a:r>
              <a:rPr lang="en-US" b="0" dirty="0" err="1"/>
              <a:t>el</a:t>
            </a:r>
            <a:r>
              <a:rPr lang="en-US" b="0" dirty="0"/>
              <a:t> </a:t>
            </a:r>
            <a:r>
              <a:rPr lang="en-US" b="0" dirty="0" err="1"/>
              <a:t>problema</a:t>
            </a:r>
            <a:r>
              <a:rPr lang="en-US" b="0" dirty="0"/>
              <a:t> </a:t>
            </a:r>
            <a:r>
              <a:rPr lang="en-US" b="0" dirty="0" err="1"/>
              <a:t>tiene</a:t>
            </a:r>
            <a:r>
              <a:rPr lang="en-US" b="0" dirty="0"/>
              <a:t> </a:t>
            </a:r>
            <a:r>
              <a:rPr lang="en-US" b="0" dirty="0" err="1"/>
              <a:t>solución</a:t>
            </a:r>
            <a:r>
              <a:rPr lang="en-US" b="0" dirty="0"/>
              <a:t> </a:t>
            </a:r>
            <a:r>
              <a:rPr lang="en-US" b="0" dirty="0" err="1"/>
              <a:t>desde</a:t>
            </a:r>
            <a:r>
              <a:rPr lang="en-US" b="0" dirty="0"/>
              <a:t> </a:t>
            </a:r>
            <a:r>
              <a:rPr lang="en-US" b="0" dirty="0" err="1"/>
              <a:t>el</a:t>
            </a:r>
            <a:r>
              <a:rPr lang="en-US" b="0" dirty="0"/>
              <a:t> punto de vista </a:t>
            </a:r>
            <a:r>
              <a:rPr lang="en-US" b="0" dirty="0" err="1"/>
              <a:t>tecnológico</a:t>
            </a:r>
            <a:r>
              <a:rPr lang="en-US" b="0" dirty="0"/>
              <a:t> y </a:t>
            </a:r>
            <a:r>
              <a:rPr lang="en-US" b="0" dirty="0" err="1"/>
              <a:t>si</a:t>
            </a:r>
            <a:r>
              <a:rPr lang="en-US" b="0" dirty="0"/>
              <a:t> es viable </a:t>
            </a:r>
            <a:r>
              <a:rPr lang="en-US" b="0" dirty="0" err="1"/>
              <a:t>desde</a:t>
            </a:r>
            <a:r>
              <a:rPr lang="en-US" b="0" dirty="0"/>
              <a:t> </a:t>
            </a:r>
            <a:r>
              <a:rPr lang="en-US" b="0" dirty="0" err="1"/>
              <a:t>el</a:t>
            </a:r>
            <a:r>
              <a:rPr lang="en-US" b="0" dirty="0"/>
              <a:t> punto de vista del</a:t>
            </a:r>
            <a:r>
              <a:rPr lang="en-US" b="0" baseline="0" dirty="0"/>
              <a:t> </a:t>
            </a:r>
            <a:r>
              <a:rPr lang="en-US" b="0" baseline="0" dirty="0" err="1"/>
              <a:t>negocio</a:t>
            </a:r>
            <a:r>
              <a:rPr lang="en-US" b="0" baseline="0" dirty="0"/>
              <a:t>. En </a:t>
            </a:r>
            <a:r>
              <a:rPr lang="en-US" b="0" baseline="0" dirty="0" err="1"/>
              <a:t>el</a:t>
            </a:r>
            <a:r>
              <a:rPr lang="en-US" b="0" baseline="0" dirty="0"/>
              <a:t> </a:t>
            </a:r>
            <a:r>
              <a:rPr lang="en-US" b="0" baseline="0" dirty="0" err="1"/>
              <a:t>desing</a:t>
            </a:r>
            <a:r>
              <a:rPr lang="en-US" b="0" baseline="0" dirty="0"/>
              <a:t> thinking </a:t>
            </a:r>
            <a:r>
              <a:rPr lang="en-US" b="0" baseline="0" dirty="0" err="1"/>
              <a:t>anhadiríamos</a:t>
            </a:r>
            <a:r>
              <a:rPr lang="en-US" b="0" baseline="0" dirty="0"/>
              <a:t> </a:t>
            </a:r>
            <a:r>
              <a:rPr lang="en-US" b="0" baseline="0" dirty="0" err="1"/>
              <a:t>tamibén</a:t>
            </a:r>
            <a:r>
              <a:rPr lang="en-US" b="0" baseline="0" dirty="0"/>
              <a:t> </a:t>
            </a:r>
            <a:r>
              <a:rPr lang="en-US" b="0" baseline="0" dirty="0" err="1"/>
              <a:t>el</a:t>
            </a:r>
            <a:r>
              <a:rPr lang="en-US" b="0" baseline="0" dirty="0"/>
              <a:t> factor </a:t>
            </a:r>
            <a:r>
              <a:rPr lang="en-US" b="0" baseline="0" dirty="0" err="1"/>
              <a:t>humano</a:t>
            </a:r>
            <a:r>
              <a:rPr lang="en-US" b="0" baseline="0" dirty="0"/>
              <a:t> </a:t>
            </a:r>
            <a:r>
              <a:rPr lang="en-US" b="0" baseline="0" dirty="0" err="1"/>
              <a:t>puesto</a:t>
            </a:r>
            <a:r>
              <a:rPr lang="en-US" b="0" baseline="0" dirty="0"/>
              <a:t> </a:t>
            </a:r>
            <a:r>
              <a:rPr lang="en-US" b="0" dirty="0"/>
              <a:t>que </a:t>
            </a:r>
            <a:r>
              <a:rPr lang="en-US" b="0" dirty="0" err="1"/>
              <a:t>nuestro</a:t>
            </a:r>
            <a:r>
              <a:rPr lang="en-US" b="0" dirty="0"/>
              <a:t> </a:t>
            </a:r>
            <a:r>
              <a:rPr lang="en-US" b="0" dirty="0" err="1"/>
              <a:t>objetivo</a:t>
            </a:r>
            <a:r>
              <a:rPr lang="en-US" b="0" baseline="0" dirty="0"/>
              <a:t> </a:t>
            </a:r>
            <a:r>
              <a:rPr lang="en-US" b="0" baseline="0" dirty="0" err="1"/>
              <a:t>también</a:t>
            </a:r>
            <a:r>
              <a:rPr lang="en-US" b="0" baseline="0" dirty="0"/>
              <a:t> es</a:t>
            </a:r>
            <a:r>
              <a:rPr lang="en-US" b="0" dirty="0"/>
              <a:t> </a:t>
            </a:r>
            <a:r>
              <a:rPr lang="en-US" b="0" dirty="0" err="1"/>
              <a:t>hacer</a:t>
            </a:r>
            <a:r>
              <a:rPr lang="en-US" b="0" dirty="0"/>
              <a:t> </a:t>
            </a:r>
            <a:r>
              <a:rPr lang="en-US" b="0" dirty="0" err="1"/>
              <a:t>feliz</a:t>
            </a:r>
            <a:r>
              <a:rPr lang="en-US" b="0" dirty="0"/>
              <a:t> a la persona que </a:t>
            </a:r>
            <a:r>
              <a:rPr lang="en-US" b="0" dirty="0" err="1"/>
              <a:t>va</a:t>
            </a:r>
            <a:r>
              <a:rPr lang="en-US" b="0" dirty="0"/>
              <a:t> a </a:t>
            </a:r>
            <a:r>
              <a:rPr lang="en-US" b="0" dirty="0" err="1"/>
              <a:t>tener</a:t>
            </a:r>
            <a:r>
              <a:rPr lang="en-US" b="0" dirty="0"/>
              <a:t> </a:t>
            </a:r>
            <a:r>
              <a:rPr lang="en-US" b="0" dirty="0" err="1"/>
              <a:t>el</a:t>
            </a:r>
            <a:r>
              <a:rPr lang="en-US" b="0" dirty="0"/>
              <a:t> producto, </a:t>
            </a:r>
            <a:r>
              <a:rPr lang="en-US" b="0" dirty="0" err="1"/>
              <a:t>por</a:t>
            </a:r>
            <a:r>
              <a:rPr lang="en-US" b="0" dirty="0"/>
              <a:t> lo tanto, </a:t>
            </a:r>
            <a:r>
              <a:rPr lang="en-US" b="0" dirty="0" err="1"/>
              <a:t>obtenemos</a:t>
            </a:r>
            <a:r>
              <a:rPr lang="en-US" b="0" dirty="0"/>
              <a:t> </a:t>
            </a:r>
            <a:r>
              <a:rPr lang="en-US" b="0" dirty="0" err="1"/>
              <a:t>una</a:t>
            </a:r>
            <a:r>
              <a:rPr lang="en-US" b="0" dirty="0"/>
              <a:t> </a:t>
            </a:r>
            <a:r>
              <a:rPr lang="en-US" b="0" dirty="0" err="1"/>
              <a:t>intersección</a:t>
            </a:r>
            <a:r>
              <a:rPr lang="en-US" b="0" dirty="0"/>
              <a:t> </a:t>
            </a:r>
            <a:r>
              <a:rPr lang="en-US" b="0" dirty="0" err="1"/>
              <a:t>más</a:t>
            </a:r>
            <a:r>
              <a:rPr lang="en-US" b="0" dirty="0"/>
              <a:t> </a:t>
            </a:r>
            <a:r>
              <a:rPr lang="en-US" b="0" dirty="0" err="1"/>
              <a:t>pequenha</a:t>
            </a:r>
            <a:r>
              <a:rPr lang="en-US" b="0" dirty="0"/>
              <a:t> </a:t>
            </a:r>
            <a:r>
              <a:rPr lang="en-US" b="0" dirty="0" err="1"/>
              <a:t>pero</a:t>
            </a:r>
            <a:r>
              <a:rPr lang="en-US" b="0" dirty="0"/>
              <a:t> es </a:t>
            </a:r>
            <a:r>
              <a:rPr lang="en-US" b="0" dirty="0" err="1"/>
              <a:t>importante</a:t>
            </a:r>
            <a:r>
              <a:rPr lang="en-US" b="0" dirty="0"/>
              <a:t> considerer al </a:t>
            </a:r>
            <a:r>
              <a:rPr lang="en-US" b="0" dirty="0" err="1"/>
              <a:t>usuario</a:t>
            </a:r>
            <a:r>
              <a:rPr lang="en-US" b="0" dirty="0"/>
              <a:t>.</a:t>
            </a:r>
          </a:p>
          <a:p>
            <a:endParaRPr lang="en-US" b="0" dirty="0"/>
          </a:p>
          <a:p>
            <a:r>
              <a:rPr lang="en-US" b="0" dirty="0"/>
              <a:t>1. Follow a clearly structured, but open process. - The Design Thinking process is structured in six phases (which may be repeatedly run through), some of them widening the focus in observations or collecting (crazy) ideas, some of them focusing on a solution like finding a synthesis or prototyping. </a:t>
            </a:r>
          </a:p>
          <a:p>
            <a:r>
              <a:rPr lang="en-US" b="0" dirty="0"/>
              <a:t>2. Understand the personal needs of the clients, not only requirements on a practical level - Example: If your young child wants to have a dog, what is it he or she really misses? A companion? Responsibility? Something better than other children? ... - Don't be surprised if you find the answer to a very different question you started with!</a:t>
            </a:r>
          </a:p>
          <a:p>
            <a:r>
              <a:rPr lang="en-US" b="0" dirty="0"/>
              <a:t>3. Fail early and frequently! - This is one of my </a:t>
            </a:r>
            <a:r>
              <a:rPr lang="en-US" b="0" dirty="0" err="1"/>
              <a:t>favourite</a:t>
            </a:r>
            <a:r>
              <a:rPr lang="en-US" b="0" dirty="0"/>
              <a:t> ones. But in fact it makes a lot of sense. With a quick and simple prototype it is much easier to understand clients needs and practical implications of a solution.</a:t>
            </a:r>
          </a:p>
          <a:p>
            <a:r>
              <a:rPr lang="en-US" b="0" dirty="0"/>
              <a:t>4. Work with a well diversified team, to bring together very different perspectives. - This should be easy for a </a:t>
            </a:r>
            <a:r>
              <a:rPr lang="en-US" b="0" dirty="0" err="1"/>
              <a:t>worlwide</a:t>
            </a:r>
            <a:r>
              <a:rPr lang="en-US" b="0" dirty="0"/>
              <a:t> operating company like Hannover Re.</a:t>
            </a:r>
          </a:p>
          <a:p>
            <a:r>
              <a:rPr lang="en-US" b="0" dirty="0"/>
              <a:t>5. Give ideas sufficient space - Rooms with sufficient work space, walls to post ideas or </a:t>
            </a:r>
            <a:r>
              <a:rPr lang="en-US" b="0" dirty="0" err="1"/>
              <a:t>inspriring</a:t>
            </a:r>
            <a:r>
              <a:rPr lang="en-US" b="0" dirty="0"/>
              <a:t> pictures can be very helpful to breed creativity.</a:t>
            </a:r>
          </a:p>
          <a:p>
            <a:endParaRPr lang="en-GB" dirty="0"/>
          </a:p>
          <a:p>
            <a:r>
              <a:rPr lang="en-US" sz="1200" b="0" i="0" kern="1200" dirty="0">
                <a:solidFill>
                  <a:schemeClr val="tx1"/>
                </a:solidFill>
                <a:effectLst/>
                <a:latin typeface="+mn-lt"/>
                <a:ea typeface="+mn-ea"/>
                <a:cs typeface="+mn-cs"/>
              </a:rPr>
              <a:t>1. Follow a clearly structured, but open process. - The Design Thinking process is structured in six phases (which may be repeatedly run through), some of them widening the focus in observations or collecting (crazy) ideas, some of them focusing on a solution like finding a synthesis or prototyping. </a:t>
            </a:r>
          </a:p>
          <a:p>
            <a:r>
              <a:rPr lang="en-US" sz="1200" b="0" i="0" kern="1200" dirty="0">
                <a:solidFill>
                  <a:schemeClr val="tx1"/>
                </a:solidFill>
                <a:effectLst/>
                <a:latin typeface="+mn-lt"/>
                <a:ea typeface="+mn-ea"/>
                <a:cs typeface="+mn-cs"/>
              </a:rPr>
              <a:t>2. Understand the personal needs of the clients, not only requirements on a practical level - Example: If your young child wants to have a dog, what is it he or she really misses? A companion? Responsibility? Something better than other children? ... - Don't be surprised if you find the answer to a very different question you started with!</a:t>
            </a:r>
          </a:p>
          <a:p>
            <a:r>
              <a:rPr lang="en-US" sz="1200" b="0" i="0" kern="1200" dirty="0">
                <a:solidFill>
                  <a:schemeClr val="tx1"/>
                </a:solidFill>
                <a:effectLst/>
                <a:latin typeface="+mn-lt"/>
                <a:ea typeface="+mn-ea"/>
                <a:cs typeface="+mn-cs"/>
              </a:rPr>
              <a:t>3. Fail early and frequently! - This is one of my </a:t>
            </a:r>
            <a:r>
              <a:rPr lang="en-US" sz="1200" b="0" i="0" kern="1200" dirty="0" err="1">
                <a:solidFill>
                  <a:schemeClr val="tx1"/>
                </a:solidFill>
                <a:effectLst/>
                <a:latin typeface="+mn-lt"/>
                <a:ea typeface="+mn-ea"/>
                <a:cs typeface="+mn-cs"/>
              </a:rPr>
              <a:t>favourite</a:t>
            </a:r>
            <a:r>
              <a:rPr lang="en-US" sz="1200" b="0" i="0" kern="1200" dirty="0">
                <a:solidFill>
                  <a:schemeClr val="tx1"/>
                </a:solidFill>
                <a:effectLst/>
                <a:latin typeface="+mn-lt"/>
                <a:ea typeface="+mn-ea"/>
                <a:cs typeface="+mn-cs"/>
              </a:rPr>
              <a:t> ones. But in fact it makes a lot of sense. With a quick and simple prototype it is much easier to understand clients needs and practical implications of a solution.</a:t>
            </a:r>
          </a:p>
          <a:p>
            <a:r>
              <a:rPr lang="en-US" sz="1200" b="0" i="0" kern="1200" dirty="0">
                <a:solidFill>
                  <a:schemeClr val="tx1"/>
                </a:solidFill>
                <a:effectLst/>
                <a:latin typeface="+mn-lt"/>
                <a:ea typeface="+mn-ea"/>
                <a:cs typeface="+mn-cs"/>
              </a:rPr>
              <a:t>4. Work with a well diversified team, to bring together very different perspectives. - This should be easy for a </a:t>
            </a:r>
            <a:r>
              <a:rPr lang="en-US" sz="1200" b="0" i="0" kern="1200" dirty="0" err="1">
                <a:solidFill>
                  <a:schemeClr val="tx1"/>
                </a:solidFill>
                <a:effectLst/>
                <a:latin typeface="+mn-lt"/>
                <a:ea typeface="+mn-ea"/>
                <a:cs typeface="+mn-cs"/>
              </a:rPr>
              <a:t>worlwide</a:t>
            </a:r>
            <a:r>
              <a:rPr lang="en-US" sz="1200" b="0" i="0" kern="1200" dirty="0">
                <a:solidFill>
                  <a:schemeClr val="tx1"/>
                </a:solidFill>
                <a:effectLst/>
                <a:latin typeface="+mn-lt"/>
                <a:ea typeface="+mn-ea"/>
                <a:cs typeface="+mn-cs"/>
              </a:rPr>
              <a:t> operating company like Hannover Re.</a:t>
            </a:r>
          </a:p>
          <a:p>
            <a:r>
              <a:rPr lang="en-US" sz="1200" b="0" i="0" kern="1200" dirty="0">
                <a:solidFill>
                  <a:schemeClr val="tx1"/>
                </a:solidFill>
                <a:effectLst/>
                <a:latin typeface="+mn-lt"/>
                <a:ea typeface="+mn-ea"/>
                <a:cs typeface="+mn-cs"/>
              </a:rPr>
              <a:t>5. Give ideas sufficient space - Rooms with sufficient work space, walls to post ideas or </a:t>
            </a:r>
            <a:r>
              <a:rPr lang="en-US" sz="1200" b="0" i="0" kern="1200" dirty="0" err="1">
                <a:solidFill>
                  <a:schemeClr val="tx1"/>
                </a:solidFill>
                <a:effectLst/>
                <a:latin typeface="+mn-lt"/>
                <a:ea typeface="+mn-ea"/>
                <a:cs typeface="+mn-cs"/>
              </a:rPr>
              <a:t>inspriring</a:t>
            </a:r>
            <a:r>
              <a:rPr lang="en-US" sz="1200" b="0" i="0" kern="1200" dirty="0">
                <a:solidFill>
                  <a:schemeClr val="tx1"/>
                </a:solidFill>
                <a:effectLst/>
                <a:latin typeface="+mn-lt"/>
                <a:ea typeface="+mn-ea"/>
                <a:cs typeface="+mn-cs"/>
              </a:rPr>
              <a:t> pictures can be very helpful to breed creativity.</a:t>
            </a:r>
          </a:p>
          <a:p>
            <a:endParaRPr lang="en-GB" dirty="0"/>
          </a:p>
        </p:txBody>
      </p:sp>
      <p:sp>
        <p:nvSpPr>
          <p:cNvPr id="4" name="Slide Number Placeholder 3"/>
          <p:cNvSpPr>
            <a:spLocks noGrp="1"/>
          </p:cNvSpPr>
          <p:nvPr>
            <p:ph type="sldNum" sz="quarter" idx="5"/>
          </p:nvPr>
        </p:nvSpPr>
        <p:spPr/>
        <p:txBody>
          <a:bodyPr/>
          <a:lstStyle/>
          <a:p>
            <a:fld id="{8A9D0B38-1640-41D3-8E5F-55B0C4EC5704}" type="slidenum">
              <a:rPr lang="en-US" smtClean="0"/>
              <a:t>6</a:t>
            </a:fld>
            <a:endParaRPr lang="en-US"/>
          </a:p>
        </p:txBody>
      </p:sp>
    </p:spTree>
    <p:extLst>
      <p:ext uri="{BB962C8B-B14F-4D97-AF65-F5344CB8AC3E}">
        <p14:creationId xmlns:p14="http://schemas.microsoft.com/office/powerpoint/2010/main" val="1810216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684">
              <a:spcBef>
                <a:spcPts val="1244"/>
              </a:spcBef>
              <a:defRPr/>
            </a:pPr>
            <a:r>
              <a:rPr lang="en-US" b="0" dirty="0"/>
              <a:t>810 </a:t>
            </a:r>
            <a:r>
              <a:rPr lang="en-US" b="0" dirty="0" err="1"/>
              <a:t>En</a:t>
            </a:r>
            <a:r>
              <a:rPr lang="en-US" b="0" dirty="0"/>
              <a:t> el business thinking, </a:t>
            </a:r>
            <a:r>
              <a:rPr lang="en-US" b="0" dirty="0" err="1"/>
              <a:t>vemos</a:t>
            </a:r>
            <a:r>
              <a:rPr lang="en-US" b="0" dirty="0"/>
              <a:t> un </a:t>
            </a:r>
            <a:r>
              <a:rPr lang="en-US" b="0" dirty="0" err="1"/>
              <a:t>problema</a:t>
            </a:r>
            <a:r>
              <a:rPr lang="en-US" b="0" dirty="0"/>
              <a:t> y </a:t>
            </a:r>
            <a:r>
              <a:rPr lang="en-US" b="0" dirty="0" err="1"/>
              <a:t>miramos</a:t>
            </a:r>
            <a:r>
              <a:rPr lang="en-US" b="0" dirty="0"/>
              <a:t> el </a:t>
            </a:r>
            <a:r>
              <a:rPr lang="en-US" b="0" dirty="0" err="1"/>
              <a:t>aspecto</a:t>
            </a:r>
            <a:r>
              <a:rPr lang="en-US" b="0" dirty="0"/>
              <a:t> del </a:t>
            </a:r>
            <a:r>
              <a:rPr lang="en-US" b="0" dirty="0" err="1"/>
              <a:t>negocio</a:t>
            </a:r>
            <a:r>
              <a:rPr lang="en-US" b="0" dirty="0"/>
              <a:t> y el </a:t>
            </a:r>
            <a:r>
              <a:rPr lang="en-US" b="0" dirty="0" err="1"/>
              <a:t>tecnológico</a:t>
            </a:r>
            <a:r>
              <a:rPr lang="en-US" b="0" dirty="0"/>
              <a:t> e </a:t>
            </a:r>
            <a:r>
              <a:rPr lang="en-US" b="0" dirty="0" err="1"/>
              <a:t>intentamos</a:t>
            </a:r>
            <a:r>
              <a:rPr lang="en-US" b="0" dirty="0"/>
              <a:t> </a:t>
            </a:r>
            <a:r>
              <a:rPr lang="en-US" b="0" dirty="0" err="1"/>
              <a:t>buscar</a:t>
            </a:r>
            <a:r>
              <a:rPr lang="en-US" b="0" dirty="0"/>
              <a:t> </a:t>
            </a:r>
            <a:r>
              <a:rPr lang="en-US" b="0" dirty="0" err="1"/>
              <a:t>una</a:t>
            </a:r>
            <a:r>
              <a:rPr lang="en-US" b="0" dirty="0"/>
              <a:t> </a:t>
            </a:r>
            <a:r>
              <a:rPr lang="en-US" b="0" dirty="0" err="1"/>
              <a:t>solución</a:t>
            </a:r>
            <a:r>
              <a:rPr lang="en-US" b="0" dirty="0"/>
              <a:t>; </a:t>
            </a:r>
          </a:p>
          <a:p>
            <a:pPr defTabSz="947684">
              <a:spcBef>
                <a:spcPts val="1244"/>
              </a:spcBef>
              <a:defRPr/>
            </a:pPr>
            <a:r>
              <a:rPr lang="en-US" b="0" dirty="0"/>
              <a:t>Pero </a:t>
            </a:r>
            <a:r>
              <a:rPr lang="en-US" b="0" dirty="0" err="1"/>
              <a:t>si</a:t>
            </a:r>
            <a:r>
              <a:rPr lang="en-US" b="0" dirty="0"/>
              <a:t> </a:t>
            </a:r>
            <a:r>
              <a:rPr lang="en-US" b="0" dirty="0" err="1"/>
              <a:t>vamos</a:t>
            </a:r>
            <a:r>
              <a:rPr lang="en-US" b="0" dirty="0"/>
              <a:t> al </a:t>
            </a:r>
            <a:r>
              <a:rPr lang="en-US" b="0" dirty="0" err="1"/>
              <a:t>desing</a:t>
            </a:r>
            <a:r>
              <a:rPr lang="en-US" b="0" dirty="0"/>
              <a:t> thinking, </a:t>
            </a:r>
            <a:r>
              <a:rPr lang="en-US" b="0" dirty="0" err="1"/>
              <a:t>miramos</a:t>
            </a:r>
            <a:r>
              <a:rPr lang="en-US" b="0" dirty="0"/>
              <a:t> </a:t>
            </a:r>
            <a:r>
              <a:rPr lang="en-US" b="0" dirty="0" err="1"/>
              <a:t>también</a:t>
            </a:r>
            <a:r>
              <a:rPr lang="en-US" b="0" dirty="0"/>
              <a:t> a la persona individual y </a:t>
            </a:r>
            <a:r>
              <a:rPr lang="en-US" b="0" dirty="0" err="1"/>
              <a:t>vamos</a:t>
            </a:r>
            <a:r>
              <a:rPr lang="en-US" b="0" dirty="0"/>
              <a:t> </a:t>
            </a:r>
            <a:r>
              <a:rPr lang="en-US" b="0" dirty="0" err="1"/>
              <a:t>más</a:t>
            </a:r>
            <a:r>
              <a:rPr lang="en-US" b="0" dirty="0"/>
              <a:t> </a:t>
            </a:r>
            <a:r>
              <a:rPr lang="en-US" b="0" dirty="0" err="1"/>
              <a:t>atrás</a:t>
            </a:r>
            <a:r>
              <a:rPr lang="en-US" b="0" dirty="0"/>
              <a:t> del </a:t>
            </a:r>
            <a:r>
              <a:rPr lang="en-US" b="0" dirty="0" err="1"/>
              <a:t>problema</a:t>
            </a:r>
            <a:r>
              <a:rPr lang="en-US" b="0" dirty="0"/>
              <a:t> e </a:t>
            </a:r>
            <a:r>
              <a:rPr lang="en-US" b="0" dirty="0" err="1"/>
              <a:t>intentamos</a:t>
            </a:r>
            <a:r>
              <a:rPr lang="en-US" b="0" dirty="0"/>
              <a:t> </a:t>
            </a:r>
            <a:r>
              <a:rPr lang="en-US" b="0" dirty="0" err="1"/>
              <a:t>entender</a:t>
            </a:r>
            <a:r>
              <a:rPr lang="en-US" b="0" dirty="0"/>
              <a:t> el </a:t>
            </a:r>
            <a:r>
              <a:rPr lang="en-US" b="0" dirty="0" err="1"/>
              <a:t>problema</a:t>
            </a:r>
            <a:r>
              <a:rPr lang="en-US" b="0" dirty="0"/>
              <a:t>; de </a:t>
            </a:r>
            <a:r>
              <a:rPr lang="en-US" b="0" dirty="0" err="1"/>
              <a:t>dónde</a:t>
            </a:r>
            <a:r>
              <a:rPr lang="en-US" b="0" dirty="0"/>
              <a:t> </a:t>
            </a:r>
            <a:r>
              <a:rPr lang="en-US" b="0" dirty="0" err="1"/>
              <a:t>viene</a:t>
            </a:r>
            <a:r>
              <a:rPr lang="en-US" b="0" dirty="0"/>
              <a:t> </a:t>
            </a:r>
            <a:r>
              <a:rPr lang="en-US" b="0" dirty="0" err="1"/>
              <a:t>este</a:t>
            </a:r>
            <a:r>
              <a:rPr lang="en-US" b="0" dirty="0"/>
              <a:t> </a:t>
            </a:r>
            <a:r>
              <a:rPr lang="en-US" b="0" dirty="0" err="1"/>
              <a:t>problema</a:t>
            </a:r>
            <a:r>
              <a:rPr lang="en-US" b="0" dirty="0"/>
              <a:t>? </a:t>
            </a:r>
            <a:r>
              <a:rPr lang="en-US" b="0" dirty="0" err="1"/>
              <a:t>por</a:t>
            </a:r>
            <a:r>
              <a:rPr lang="en-US" b="0" dirty="0"/>
              <a:t> </a:t>
            </a:r>
            <a:r>
              <a:rPr lang="en-US" b="0" dirty="0" err="1"/>
              <a:t>qué</a:t>
            </a:r>
            <a:r>
              <a:rPr lang="en-US" b="0" dirty="0"/>
              <a:t> </a:t>
            </a:r>
            <a:r>
              <a:rPr lang="en-US" b="0" dirty="0" err="1"/>
              <a:t>este</a:t>
            </a:r>
            <a:r>
              <a:rPr lang="en-US" b="0" dirty="0"/>
              <a:t> </a:t>
            </a:r>
            <a:r>
              <a:rPr lang="en-US" b="0" dirty="0" err="1"/>
              <a:t>problema</a:t>
            </a:r>
            <a:r>
              <a:rPr lang="en-US" b="0" dirty="0"/>
              <a:t> </a:t>
            </a:r>
            <a:r>
              <a:rPr lang="en-US" b="0" dirty="0" err="1"/>
              <a:t>tiene</a:t>
            </a:r>
            <a:r>
              <a:rPr lang="en-US" b="0" dirty="0"/>
              <a:t> </a:t>
            </a:r>
            <a:r>
              <a:rPr lang="en-US" b="0" dirty="0" err="1"/>
              <a:t>razón</a:t>
            </a:r>
            <a:r>
              <a:rPr lang="en-US" b="0" dirty="0"/>
              <a:t> de </a:t>
            </a:r>
            <a:r>
              <a:rPr lang="en-US" b="0" dirty="0" err="1"/>
              <a:t>ser</a:t>
            </a:r>
            <a:r>
              <a:rPr lang="en-US" b="0" dirty="0"/>
              <a:t>?</a:t>
            </a:r>
          </a:p>
          <a:p>
            <a:pPr defTabSz="947684">
              <a:spcBef>
                <a:spcPts val="1244"/>
              </a:spcBef>
              <a:defRPr/>
            </a:pPr>
            <a:r>
              <a:rPr lang="en-US" b="0" dirty="0" err="1"/>
              <a:t>Realmente</a:t>
            </a:r>
            <a:r>
              <a:rPr lang="en-US" b="0" dirty="0"/>
              <a:t> </a:t>
            </a:r>
            <a:r>
              <a:rPr lang="en-US" b="0" dirty="0" err="1"/>
              <a:t>desmenuzamos</a:t>
            </a:r>
            <a:r>
              <a:rPr lang="en-US" b="0" dirty="0"/>
              <a:t> ese </a:t>
            </a:r>
            <a:r>
              <a:rPr lang="en-US" b="0" dirty="0" err="1"/>
              <a:t>problema</a:t>
            </a:r>
            <a:r>
              <a:rPr lang="en-US" b="0" dirty="0"/>
              <a:t> y lo </a:t>
            </a:r>
            <a:r>
              <a:rPr lang="en-US" b="0" dirty="0" err="1"/>
              <a:t>mismo</a:t>
            </a:r>
            <a:r>
              <a:rPr lang="en-US" b="0" dirty="0"/>
              <a:t> </a:t>
            </a:r>
            <a:r>
              <a:rPr lang="en-US" b="0" dirty="0" err="1"/>
              <a:t>salen</a:t>
            </a:r>
            <a:r>
              <a:rPr lang="en-US" b="0" dirty="0"/>
              <a:t> </a:t>
            </a:r>
            <a:r>
              <a:rPr lang="en-US" b="0" dirty="0" err="1"/>
              <a:t>otros</a:t>
            </a:r>
            <a:r>
              <a:rPr lang="en-US" b="0" dirty="0"/>
              <a:t> </a:t>
            </a:r>
            <a:r>
              <a:rPr lang="en-US" b="0" dirty="0" err="1"/>
              <a:t>problemas</a:t>
            </a:r>
            <a:r>
              <a:rPr lang="en-US" b="0" dirty="0"/>
              <a:t> </a:t>
            </a:r>
            <a:r>
              <a:rPr lang="en-US" b="0" dirty="0" err="1"/>
              <a:t>nuevos</a:t>
            </a:r>
            <a:r>
              <a:rPr lang="en-US" b="0" dirty="0"/>
              <a:t> que no </a:t>
            </a:r>
            <a:r>
              <a:rPr lang="en-US" b="0" dirty="0" err="1"/>
              <a:t>habíamos</a:t>
            </a:r>
            <a:r>
              <a:rPr lang="en-US" b="0" dirty="0"/>
              <a:t> </a:t>
            </a:r>
            <a:r>
              <a:rPr lang="en-US" b="0" dirty="0" err="1"/>
              <a:t>contemplado</a:t>
            </a:r>
            <a:r>
              <a:rPr lang="en-US" b="0" dirty="0"/>
              <a:t> al </a:t>
            </a:r>
            <a:r>
              <a:rPr lang="en-US" b="0" dirty="0" err="1"/>
              <a:t>inicio</a:t>
            </a:r>
            <a:r>
              <a:rPr lang="en-US" b="0" dirty="0"/>
              <a:t>, y </a:t>
            </a:r>
            <a:r>
              <a:rPr lang="en-US" b="0" dirty="0" err="1"/>
              <a:t>entonces</a:t>
            </a:r>
            <a:r>
              <a:rPr lang="en-US" b="0" dirty="0"/>
              <a:t> </a:t>
            </a:r>
            <a:r>
              <a:rPr lang="en-US" b="0" dirty="0" err="1"/>
              <a:t>ahí</a:t>
            </a:r>
            <a:r>
              <a:rPr lang="en-US" b="0" dirty="0"/>
              <a:t> </a:t>
            </a:r>
            <a:r>
              <a:rPr lang="en-US" b="0" dirty="0" err="1"/>
              <a:t>pueden</a:t>
            </a:r>
            <a:r>
              <a:rPr lang="en-US" b="0" dirty="0"/>
              <a:t> </a:t>
            </a:r>
            <a:r>
              <a:rPr lang="en-US" b="0" dirty="0" err="1"/>
              <a:t>salir</a:t>
            </a:r>
            <a:r>
              <a:rPr lang="en-US" b="0" dirty="0"/>
              <a:t> </a:t>
            </a:r>
            <a:r>
              <a:rPr lang="en-US" b="0" dirty="0" err="1"/>
              <a:t>varias</a:t>
            </a:r>
            <a:r>
              <a:rPr lang="en-US" b="0" dirty="0"/>
              <a:t> </a:t>
            </a:r>
            <a:r>
              <a:rPr lang="en-US" b="0" dirty="0" err="1"/>
              <a:t>soluciones</a:t>
            </a:r>
            <a:r>
              <a:rPr lang="en-US" b="0" dirty="0"/>
              <a:t> que </a:t>
            </a:r>
            <a:r>
              <a:rPr lang="en-US" b="0" dirty="0" err="1"/>
              <a:t>abarquen</a:t>
            </a:r>
            <a:r>
              <a:rPr lang="en-US" b="0" dirty="0"/>
              <a:t> </a:t>
            </a:r>
            <a:r>
              <a:rPr lang="en-US" b="0" dirty="0" err="1"/>
              <a:t>varios</a:t>
            </a:r>
            <a:r>
              <a:rPr lang="en-US" b="0" dirty="0"/>
              <a:t> </a:t>
            </a:r>
            <a:r>
              <a:rPr lang="en-US" b="0" dirty="0" err="1"/>
              <a:t>problemas</a:t>
            </a:r>
            <a:r>
              <a:rPr lang="en-US" b="0" dirty="0"/>
              <a:t> que antes no </a:t>
            </a:r>
            <a:r>
              <a:rPr lang="en-US" b="0" dirty="0" err="1"/>
              <a:t>habíamos</a:t>
            </a:r>
            <a:r>
              <a:rPr lang="en-US" b="0" dirty="0"/>
              <a:t> </a:t>
            </a:r>
            <a:r>
              <a:rPr lang="en-US" b="0" dirty="0" err="1"/>
              <a:t>tenido</a:t>
            </a:r>
            <a:r>
              <a:rPr lang="en-US" b="0" dirty="0"/>
              <a:t> </a:t>
            </a:r>
            <a:r>
              <a:rPr lang="en-US" b="0" dirty="0" err="1"/>
              <a:t>en</a:t>
            </a:r>
            <a:r>
              <a:rPr lang="en-US" b="0" dirty="0"/>
              <a:t> </a:t>
            </a:r>
            <a:r>
              <a:rPr lang="en-US" b="0" dirty="0" err="1"/>
              <a:t>cuenta</a:t>
            </a:r>
            <a:r>
              <a:rPr lang="en-US" b="0" dirty="0"/>
              <a:t>.</a:t>
            </a:r>
          </a:p>
          <a:p>
            <a:endParaRPr lang="en-GB" dirty="0"/>
          </a:p>
          <a:p>
            <a:endParaRPr lang="en-GB" dirty="0"/>
          </a:p>
        </p:txBody>
      </p:sp>
    </p:spTree>
    <p:extLst>
      <p:ext uri="{BB962C8B-B14F-4D97-AF65-F5344CB8AC3E}">
        <p14:creationId xmlns:p14="http://schemas.microsoft.com/office/powerpoint/2010/main" val="934787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s-MX" sz="2800" dirty="0">
                <a:solidFill>
                  <a:schemeClr val="bg1"/>
                </a:solidFill>
              </a:rPr>
              <a:t>No deberíamos instalarle pérdidas a la compañía.</a:t>
            </a:r>
          </a:p>
          <a:p>
            <a:pPr marL="285750" indent="-285750">
              <a:buFont typeface="Arial" panose="020B0604020202020204" pitchFamily="34" charset="0"/>
              <a:buChar char="•"/>
            </a:pPr>
            <a:r>
              <a:rPr lang="es-MX" sz="2800" dirty="0">
                <a:solidFill>
                  <a:schemeClr val="bg1"/>
                </a:solidFill>
              </a:rPr>
              <a:t>Balancear el aspecto comercial como el técnico</a:t>
            </a:r>
            <a:endParaRPr lang="en-GB" sz="2400" b="0" dirty="0"/>
          </a:p>
          <a:p>
            <a:pPr marL="285750" indent="-285750">
              <a:buFont typeface="Arial" panose="020B0604020202020204" pitchFamily="34" charset="0"/>
              <a:buChar char="•"/>
            </a:pPr>
            <a:r>
              <a:rPr lang="en-GB" sz="2400" b="0" dirty="0" err="1"/>
              <a:t>Existen</a:t>
            </a:r>
            <a:r>
              <a:rPr lang="en-GB" sz="2400" b="0" dirty="0"/>
              <a:t> </a:t>
            </a:r>
            <a:r>
              <a:rPr lang="en-GB" sz="2400" b="0" dirty="0" err="1"/>
              <a:t>muchos</a:t>
            </a:r>
            <a:r>
              <a:rPr lang="en-GB" sz="2400" b="0" dirty="0"/>
              <a:t> </a:t>
            </a:r>
            <a:r>
              <a:rPr lang="en-GB" sz="2400" b="0" dirty="0" err="1"/>
              <a:t>métodos</a:t>
            </a:r>
            <a:r>
              <a:rPr lang="en-GB" sz="2400" b="0" dirty="0"/>
              <a:t> de </a:t>
            </a:r>
            <a:r>
              <a:rPr lang="es-MX" sz="2400" b="0" dirty="0"/>
              <a:t>tarificación</a:t>
            </a:r>
            <a:r>
              <a:rPr lang="en-GB" sz="2400" b="0" dirty="0"/>
              <a:t> </a:t>
            </a:r>
            <a:r>
              <a:rPr lang="en-GB" sz="2400" b="0" dirty="0" err="1"/>
              <a:t>pero</a:t>
            </a:r>
            <a:r>
              <a:rPr lang="en-GB" sz="2400" b="0" dirty="0"/>
              <a:t> </a:t>
            </a:r>
            <a:r>
              <a:rPr lang="en-GB" sz="2400" b="0" dirty="0" err="1"/>
              <a:t>todo</a:t>
            </a:r>
            <a:r>
              <a:rPr lang="en-GB" sz="2400" b="0" dirty="0"/>
              <a:t> </a:t>
            </a:r>
            <a:r>
              <a:rPr lang="en-GB" sz="2400" b="0" dirty="0" err="1"/>
              <a:t>depende</a:t>
            </a:r>
            <a:r>
              <a:rPr lang="en-GB" sz="2400" b="0" dirty="0"/>
              <a:t> de:</a:t>
            </a:r>
          </a:p>
          <a:p>
            <a:pPr marL="555750" lvl="1" indent="-285750">
              <a:buFont typeface="Arial" panose="020B0604020202020204" pitchFamily="34" charset="0"/>
              <a:buChar char="•"/>
            </a:pPr>
            <a:r>
              <a:rPr lang="en-GB" sz="2400" dirty="0"/>
              <a:t>La </a:t>
            </a:r>
            <a:r>
              <a:rPr lang="en-GB" sz="2400" dirty="0" err="1"/>
              <a:t>disponibilidad</a:t>
            </a:r>
            <a:r>
              <a:rPr lang="en-GB" sz="2400" dirty="0"/>
              <a:t> de la </a:t>
            </a:r>
            <a:r>
              <a:rPr lang="en-GB" sz="2400" dirty="0" err="1"/>
              <a:t>información</a:t>
            </a:r>
            <a:r>
              <a:rPr lang="en-GB" sz="2400" dirty="0"/>
              <a:t>.</a:t>
            </a:r>
          </a:p>
          <a:p>
            <a:pPr marL="555750" lvl="1" indent="-285750">
              <a:buFont typeface="Arial" panose="020B0604020202020204" pitchFamily="34" charset="0"/>
              <a:buChar char="•"/>
            </a:pPr>
            <a:r>
              <a:rPr lang="en-GB" sz="2400" dirty="0"/>
              <a:t>La </a:t>
            </a:r>
            <a:r>
              <a:rPr lang="en-GB" sz="2400" dirty="0" err="1"/>
              <a:t>tendencia</a:t>
            </a:r>
            <a:r>
              <a:rPr lang="en-GB" sz="2400" dirty="0"/>
              <a:t> y </a:t>
            </a:r>
            <a:r>
              <a:rPr lang="en-GB" sz="2400" dirty="0" err="1"/>
              <a:t>características</a:t>
            </a:r>
            <a:r>
              <a:rPr lang="en-GB" sz="2400" dirty="0"/>
              <a:t> de la </a:t>
            </a:r>
            <a:r>
              <a:rPr lang="en-GB" sz="2400" dirty="0" err="1"/>
              <a:t>información</a:t>
            </a:r>
            <a:r>
              <a:rPr lang="en-GB" sz="2400" dirty="0"/>
              <a:t>.</a:t>
            </a:r>
          </a:p>
          <a:p>
            <a:pPr marL="555750" lvl="1" indent="-285750">
              <a:buFont typeface="Arial" panose="020B0604020202020204" pitchFamily="34" charset="0"/>
              <a:buChar char="•"/>
            </a:pPr>
            <a:r>
              <a:rPr lang="en-GB" sz="2400" dirty="0" err="1"/>
              <a:t>Creatividad</a:t>
            </a:r>
            <a:r>
              <a:rPr lang="en-GB" sz="2400" dirty="0"/>
              <a:t>.</a:t>
            </a:r>
          </a:p>
          <a:p>
            <a:pPr marL="285750" indent="-285750">
              <a:buFont typeface="Arial" panose="020B0604020202020204" pitchFamily="34" charset="0"/>
              <a:buChar char="•"/>
            </a:pPr>
            <a:r>
              <a:rPr lang="en-GB" sz="2400" b="0" dirty="0"/>
              <a:t>Prima Tarifa ≠ </a:t>
            </a:r>
            <a:r>
              <a:rPr lang="es-MX" sz="2400" b="0" dirty="0"/>
              <a:t>Prima</a:t>
            </a:r>
            <a:r>
              <a:rPr lang="en-GB" sz="2400" b="0" dirty="0"/>
              <a:t> de </a:t>
            </a:r>
            <a:r>
              <a:rPr lang="en-GB" sz="2400" b="0" dirty="0" err="1"/>
              <a:t>Riesgo</a:t>
            </a:r>
            <a:endParaRPr lang="en-GB" sz="2400" b="0" dirty="0"/>
          </a:p>
          <a:p>
            <a:endParaRPr lang="en-GB" dirty="0"/>
          </a:p>
        </p:txBody>
      </p:sp>
      <p:sp>
        <p:nvSpPr>
          <p:cNvPr id="4" name="Slide Number Placeholder 3"/>
          <p:cNvSpPr>
            <a:spLocks noGrp="1"/>
          </p:cNvSpPr>
          <p:nvPr>
            <p:ph type="sldNum" sz="quarter" idx="5"/>
          </p:nvPr>
        </p:nvSpPr>
        <p:spPr/>
        <p:txBody>
          <a:bodyPr/>
          <a:lstStyle/>
          <a:p>
            <a:fld id="{40500AC3-D0E7-4016-A742-2970813A0ADF}" type="slidenum">
              <a:rPr lang="en-GB" smtClean="0"/>
              <a:t>10</a:t>
            </a:fld>
            <a:endParaRPr lang="en-GB"/>
          </a:p>
        </p:txBody>
      </p:sp>
    </p:spTree>
    <p:extLst>
      <p:ext uri="{BB962C8B-B14F-4D97-AF65-F5344CB8AC3E}">
        <p14:creationId xmlns:p14="http://schemas.microsoft.com/office/powerpoint/2010/main" val="1958831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0500AC3-D0E7-4016-A742-2970813A0ADF}" type="slidenum">
              <a:rPr lang="en-GB" smtClean="0"/>
              <a:t>13</a:t>
            </a:fld>
            <a:endParaRPr lang="en-GB"/>
          </a:p>
        </p:txBody>
      </p:sp>
    </p:spTree>
    <p:extLst>
      <p:ext uri="{BB962C8B-B14F-4D97-AF65-F5344CB8AC3E}">
        <p14:creationId xmlns:p14="http://schemas.microsoft.com/office/powerpoint/2010/main" val="836495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a:t>Click to edit Master subtitle style</a:t>
            </a:r>
            <a:endParaRPr lang="en-GB"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Tree>
    <p:extLst>
      <p:ext uri="{BB962C8B-B14F-4D97-AF65-F5344CB8AC3E}">
        <p14:creationId xmlns:p14="http://schemas.microsoft.com/office/powerpoint/2010/main" val="2431353775"/>
      </p:ext>
    </p:extLst>
  </p:cSld>
  <p:clrMapOvr>
    <a:masterClrMapping/>
  </p:clrMapOvr>
  <p:extLst>
    <p:ext uri="{DCECCB84-F9BA-43D5-87BE-67443E8EF086}">
      <p15:sldGuideLst xmlns:p15="http://schemas.microsoft.com/office/powerpoint/2012/main">
        <p15:guide id="1" orient="horz" pos="1496">
          <p15:clr>
            <a:srgbClr val="FFC000"/>
          </p15:clr>
        </p15:guide>
        <p15:guide id="2" orient="horz" pos="3958">
          <p15:clr>
            <a:srgbClr val="FFC000"/>
          </p15:clr>
        </p15:guide>
        <p15:guide id="3" orient="horz" pos="865">
          <p15:clr>
            <a:srgbClr val="FFC000"/>
          </p15:clr>
        </p15:guide>
        <p15:guide id="4" pos="7497">
          <p15:clr>
            <a:srgbClr val="FFC000"/>
          </p15:clr>
        </p15:guide>
        <p15:guide id="5" pos="178">
          <p15:clr>
            <a:srgbClr val="FFC000"/>
          </p15:clr>
        </p15:guide>
        <p15:guide id="6" orient="horz" pos="4142">
          <p15:clr>
            <a:srgbClr val="FFC000"/>
          </p15:clr>
        </p15:guide>
        <p15:guide id="7" orient="horz" pos="173">
          <p15:clr>
            <a:srgbClr val="FFC00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4048523551"/>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1215116460"/>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350">
          <p15:clr>
            <a:srgbClr val="FFC000"/>
          </p15:clr>
        </p15:guide>
        <p15:guide id="3" orient="horz" pos="1518">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25421C"/>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414971539"/>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529">
          <p15:clr>
            <a:srgbClr val="FFC000"/>
          </p15:clr>
        </p15:guide>
        <p15:guide id="3" orient="horz" pos="1347">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25421C"/>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4117666981"/>
      </p:ext>
    </p:extLst>
  </p:cSld>
  <p:clrMapOvr>
    <a:masterClrMapping/>
  </p:clrMapOvr>
  <p:extLst>
    <p:ext uri="{DCECCB84-F9BA-43D5-87BE-67443E8EF086}">
      <p15:sldGuideLst xmlns:p15="http://schemas.microsoft.com/office/powerpoint/2012/main">
        <p15:guide id="1" pos="1704">
          <p15:clr>
            <a:srgbClr val="FFC000"/>
          </p15:clr>
        </p15:guide>
        <p15:guide id="2" orient="horz" pos="1521">
          <p15:clr>
            <a:srgbClr val="FFC000"/>
          </p15:clr>
        </p15:guide>
        <p15:guide id="3" orient="horz" pos="1347">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25421C"/>
          </a:solidFill>
        </p:spPr>
        <p:txBody>
          <a:bodyPr/>
          <a:lstStyle>
            <a:lvl1pPr>
              <a:defRPr sz="100" b="0">
                <a:solidFill>
                  <a:srgbClr val="3C3E00"/>
                </a:solidFill>
              </a:defRPr>
            </a:lvl1pPr>
          </a:lstStyle>
          <a:p>
            <a:r>
              <a:rPr lang="en-GB"/>
              <a:t>.</a:t>
            </a:r>
            <a:endParaRPr lang="en-GB" dirty="0"/>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25421C"/>
          </a:solidFill>
        </p:spPr>
        <p:txBody>
          <a:bodyPr/>
          <a:lstStyle>
            <a:lvl1pPr>
              <a:defRPr sz="100" b="0">
                <a:solidFill>
                  <a:srgbClr val="3C3E00"/>
                </a:solidFill>
              </a:defRPr>
            </a:lvl1pPr>
          </a:lstStyle>
          <a:p>
            <a:r>
              <a:rPr lang="en-GB"/>
              <a:t>.</a:t>
            </a:r>
            <a:endParaRPr lang="en-GB" dirty="0"/>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endParaRPr lang="en-GB"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2425745864"/>
      </p:ext>
    </p:extLst>
  </p:cSld>
  <p:clrMapOvr>
    <a:masterClrMapping/>
  </p:clrMapOvr>
  <p:extLst>
    <p:ext uri="{DCECCB84-F9BA-43D5-87BE-67443E8EF086}">
      <p15:sldGuideLst xmlns:p15="http://schemas.microsoft.com/office/powerpoint/2012/main">
        <p15:guide id="1" orient="horz" pos="1521">
          <p15:clr>
            <a:srgbClr val="FFC000"/>
          </p15:clr>
        </p15:guide>
        <p15:guide id="2" orient="horz" pos="1347">
          <p15:clr>
            <a:srgbClr val="FFC000"/>
          </p15:clr>
        </p15:guide>
        <p15:guide id="3" pos="1704">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25421C"/>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GB"/>
              <a:t>.</a:t>
            </a:r>
            <a:endParaRPr lang="en-GB" dirty="0"/>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431687977"/>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1696">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25421C"/>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78803884"/>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446590363"/>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593924812"/>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lvl1pPr>
              <a:defRPr>
                <a:solidFill>
                  <a:schemeClr val="bg1"/>
                </a:solidFill>
              </a:defRPr>
            </a:lvl1p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2542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101967021"/>
      </p:ext>
    </p:extLst>
  </p:cSld>
  <p:clrMapOvr>
    <a:masterClrMapping/>
  </p:clrMapOvr>
  <p:extLst>
    <p:ext uri="{DCECCB84-F9BA-43D5-87BE-67443E8EF086}">
      <p15:sldGuideLst xmlns:p15="http://schemas.microsoft.com/office/powerpoint/2012/main">
        <p15:guide id="1" orient="horz" pos="865">
          <p15:clr>
            <a:srgbClr val="FFC000"/>
          </p15:clr>
        </p15:guide>
        <p15:guide id="2" pos="4981">
          <p15:clr>
            <a:srgbClr val="FFC000"/>
          </p15:clr>
        </p15:guide>
        <p15:guide id="3" orient="horz" pos="3957">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25421C"/>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52240269"/>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3393">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lvl1pPr>
              <a:defRPr>
                <a:solidFill>
                  <a:schemeClr val="bg1"/>
                </a:solidFill>
              </a:defRPr>
            </a:lvl1p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C87C8480-EFC8-037D-4492-0D1A3CE0AEF3}"/>
              </a:ext>
            </a:extLst>
          </p:cNvPr>
          <p:cNvSpPr/>
          <p:nvPr/>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D7FEE39F-AF01-4C24-8DDC-CF1BA81F434E}" type="slidenum">
              <a:rPr lang="en-GB" smtClean="0"/>
              <a:t>‹Nº›</a:t>
            </a:fld>
            <a:endParaRPr lang="en-GB"/>
          </a:p>
        </p:txBody>
      </p:sp>
    </p:spTree>
    <p:extLst>
      <p:ext uri="{BB962C8B-B14F-4D97-AF65-F5344CB8AC3E}">
        <p14:creationId xmlns:p14="http://schemas.microsoft.com/office/powerpoint/2010/main" val="3551392152"/>
      </p:ext>
    </p:extLst>
  </p:cSld>
  <p:clrMapOvr>
    <a:masterClrMapping/>
  </p:clrMapOvr>
  <p:extLst>
    <p:ext uri="{DCECCB84-F9BA-43D5-87BE-67443E8EF086}">
      <p15:sldGuideLst xmlns:p15="http://schemas.microsoft.com/office/powerpoint/2012/main">
        <p15:guide id="1" orient="horz" pos="865">
          <p15:clr>
            <a:srgbClr val="FFC000"/>
          </p15:clr>
        </p15:guide>
        <p15:guide id="2" pos="4981">
          <p15:clr>
            <a:srgbClr val="FFC000"/>
          </p15:clr>
        </p15:guide>
        <p15:guide id="3" orient="horz" pos="3957">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4206575374"/>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033515074"/>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559755911"/>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25421C"/>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225857267"/>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orient="horz" pos="865">
          <p15:clr>
            <a:srgbClr val="FFC000"/>
          </p15:clr>
        </p15:guide>
        <p15:guide id="4" orient="horz" pos="3957">
          <p15:clr>
            <a:srgbClr val="FFC000"/>
          </p15:clr>
        </p15:guide>
        <p15:guide id="5" pos="3393">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914121220"/>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endParaRPr lang="en-GB"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288071505"/>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8">
          <p15:clr>
            <a:srgbClr val="FFC000"/>
          </p15:clr>
        </p15:guide>
        <p15:guide id="3" pos="7500">
          <p15:clr>
            <a:srgbClr val="FFC000"/>
          </p15:clr>
        </p15:guide>
        <p15:guide id="4" pos="3912">
          <p15:clr>
            <a:srgbClr val="FFC000"/>
          </p15:clr>
        </p15:guide>
        <p15:guide id="5" pos="3767">
          <p15:clr>
            <a:srgbClr val="FFC000"/>
          </p15:clr>
        </p15:guide>
        <p15:guide id="6" pos="181">
          <p15:clr>
            <a:srgbClr val="FFC000"/>
          </p15:clr>
        </p15:guide>
        <p15:guide id="7" orient="horz" pos="4139">
          <p15:clr>
            <a:srgbClr val="FFC000"/>
          </p15:clr>
        </p15:guide>
        <p15:guide id="8" orient="horz" pos="169">
          <p15:clr>
            <a:srgbClr val="FFC00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endParaRPr lang="en-GB"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43670997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158">
          <p15:clr>
            <a:srgbClr val="FFC000"/>
          </p15:clr>
        </p15:guide>
        <p15:guide id="4" pos="5015">
          <p15:clr>
            <a:srgbClr val="FFC000"/>
          </p15:clr>
        </p15:guide>
        <p15:guide id="5" pos="2677">
          <p15:clr>
            <a:srgbClr val="FFC000"/>
          </p15:clr>
        </p15:guide>
        <p15:guide id="6" pos="250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753486085"/>
      </p:ext>
    </p:extLst>
  </p:cSld>
  <p:clrMapOvr>
    <a:masterClrMapping/>
  </p:clrMapOvr>
  <p:extLst>
    <p:ext uri="{DCECCB84-F9BA-43D5-87BE-67443E8EF086}">
      <p15:sldGuideLst xmlns:p15="http://schemas.microsoft.com/office/powerpoint/2012/main">
        <p15:guide id="1" pos="5799">
          <p15:clr>
            <a:srgbClr val="FFC000"/>
          </p15:clr>
        </p15:guide>
        <p15:guide id="2" pos="5617">
          <p15:clr>
            <a:srgbClr val="FFC000"/>
          </p15:clr>
        </p15:guide>
        <p15:guide id="3" pos="3912">
          <p15:clr>
            <a:srgbClr val="FFC000"/>
          </p15:clr>
        </p15:guide>
        <p15:guide id="4" pos="3754">
          <p15:clr>
            <a:srgbClr val="FFC000"/>
          </p15:clr>
        </p15:guide>
        <p15:guide id="5" pos="2055">
          <p15:clr>
            <a:srgbClr val="FFC000"/>
          </p15:clr>
        </p15:guide>
        <p15:guide id="6" pos="1873">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8332969"/>
      </p:ext>
    </p:extLst>
  </p:cSld>
  <p:clrMapOvr>
    <a:masterClrMapping/>
  </p:clrMapOvr>
  <p:extLst>
    <p:ext uri="{DCECCB84-F9BA-43D5-87BE-67443E8EF086}">
      <p15:sldGuideLst xmlns:p15="http://schemas.microsoft.com/office/powerpoint/2012/main">
        <p15:guide id="1" pos="5799">
          <p15:clr>
            <a:srgbClr val="FFC000"/>
          </p15:clr>
        </p15:guide>
        <p15:guide id="2" pos="5625">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2886855"/>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ext, Picture">
    <p:bg>
      <p:bgPr>
        <a:solidFill>
          <a:srgbClr val="003C70"/>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DA5E7C35-63EC-AD03-6A7A-F9BD0CA92A0A}"/>
              </a:ext>
            </a:extLst>
          </p:cNvPr>
          <p:cNvSpPr/>
          <p:nvPr/>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90388432"/>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3393">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7706195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00863873"/>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98916990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496125646"/>
      </p:ext>
    </p:extLst>
  </p:cSld>
  <p:clrMapOvr>
    <a:masterClrMapping/>
  </p:clrMapOvr>
  <p:extLst>
    <p:ext uri="{DCECCB84-F9BA-43D5-87BE-67443E8EF086}">
      <p15:sldGuideLst xmlns:p15="http://schemas.microsoft.com/office/powerpoint/2012/main">
        <p15:guide id="1" pos="5808">
          <p15:clr>
            <a:srgbClr val="FFC000"/>
          </p15:clr>
        </p15:guide>
        <p15:guide id="2" pos="5627">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3704834968"/>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3970993851"/>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63512506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806">
          <p15:clr>
            <a:srgbClr val="FFC000"/>
          </p15:clr>
        </p15:guide>
        <p15:guide id="4" pos="5617">
          <p15:clr>
            <a:srgbClr val="FFC000"/>
          </p15:clr>
        </p15:guide>
        <p15:guide id="5" pos="3912">
          <p15:clr>
            <a:srgbClr val="FFC000"/>
          </p15:clr>
        </p15:guide>
        <p15:guide id="6" pos="3754">
          <p15:clr>
            <a:srgbClr val="FFC000"/>
          </p15:clr>
        </p15:guide>
        <p15:guide id="7" pos="2055">
          <p15:clr>
            <a:srgbClr val="FFC000"/>
          </p15:clr>
        </p15:guide>
        <p15:guide id="8" pos="1873">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8EEA74"/>
          </a:solidFill>
        </p:spPr>
        <p:txBody>
          <a:bodyPr wrap="square" lIns="144000" tIns="144000" rIns="144000" bIns="144000" anchor="ctr" anchorCtr="0">
            <a:noAutofit/>
          </a:bodyPr>
          <a:lstStyle>
            <a:lvl1pPr algn="ctr">
              <a:defRPr>
                <a:solidFill>
                  <a:srgbClr val="25421C"/>
                </a:solidFill>
              </a:defRPr>
            </a:lvl1pPr>
            <a:lvl2pPr marL="0" indent="0" algn="ctr">
              <a:spcAft>
                <a:spcPts val="600"/>
              </a:spcAft>
              <a:buNone/>
              <a:defRPr sz="2000" b="1">
                <a:solidFill>
                  <a:srgbClr val="25421C"/>
                </a:solidFill>
              </a:defRPr>
            </a:lvl2pPr>
            <a:lvl3pPr marL="0" indent="0" algn="ctr">
              <a:spcAft>
                <a:spcPts val="600"/>
              </a:spcAft>
              <a:buNone/>
              <a:defRPr sz="3000" b="0">
                <a:solidFill>
                  <a:srgbClr val="25421C"/>
                </a:solidFill>
              </a:defRPr>
            </a:lvl3pPr>
            <a:lvl4pPr marL="0" indent="0" algn="ctr">
              <a:spcAft>
                <a:spcPts val="600"/>
              </a:spcAft>
              <a:buNone/>
              <a:defRPr sz="4800">
                <a:solidFill>
                  <a:srgbClr val="25421C"/>
                </a:solidFill>
              </a:defRPr>
            </a:lvl4pPr>
            <a:lvl5pPr>
              <a:spcAft>
                <a:spcPts val="600"/>
              </a:spcAft>
              <a:defRPr sz="1400">
                <a:solidFill>
                  <a:srgbClr val="25421C"/>
                </a:solidFill>
              </a:defRPr>
            </a:lvl5pPr>
            <a:lvl6pPr>
              <a:spcAft>
                <a:spcPts val="600"/>
              </a:spcAft>
              <a:defRPr sz="1400">
                <a:solidFill>
                  <a:srgbClr val="25421C"/>
                </a:solidFill>
              </a:defRPr>
            </a:lvl6pPr>
            <a:lvl7pPr>
              <a:spcAft>
                <a:spcPts val="600"/>
              </a:spcAft>
              <a:defRPr sz="1400">
                <a:solidFill>
                  <a:srgbClr val="25421C"/>
                </a:solidFill>
              </a:defRPr>
            </a:lvl7pPr>
            <a:lvl8pPr>
              <a:spcAft>
                <a:spcPts val="600"/>
              </a:spcAft>
              <a:defRPr sz="1400">
                <a:solidFill>
                  <a:srgbClr val="25421C"/>
                </a:solidFill>
              </a:defRPr>
            </a:lvl8pPr>
            <a:lvl9pPr>
              <a:defRPr>
                <a:solidFill>
                  <a:srgbClr val="25421C"/>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855240679"/>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2497">
          <p15:clr>
            <a:srgbClr val="FFC000"/>
          </p15:clr>
        </p15:guide>
        <p15:guide id="3" orient="horz" pos="3958">
          <p15:clr>
            <a:srgbClr val="FFC000"/>
          </p15:clr>
        </p15:guide>
        <p15:guide id="4" orient="horz" pos="865">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25421C"/>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4012687836"/>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3958">
          <p15:clr>
            <a:srgbClr val="FFC000"/>
          </p15:clr>
        </p15:guide>
        <p15:guide id="3" orient="horz" pos="865">
          <p15:clr>
            <a:srgbClr val="FFC000"/>
          </p15:clr>
        </p15:guide>
        <p15:guide id="4" orient="horz" pos="2497">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089812100"/>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pos="5585">
          <p15:clr>
            <a:srgbClr val="FFC000"/>
          </p15:clr>
        </p15:guide>
        <p15:guide id="4" orient="horz" pos="3958">
          <p15:clr>
            <a:srgbClr val="FFC000"/>
          </p15:clr>
        </p15:guide>
        <p15:guide id="5" orient="horz" pos="86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286609843"/>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25421C"/>
          </a:solid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918595910"/>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orient="horz" pos="3958">
          <p15:clr>
            <a:srgbClr val="FFC000"/>
          </p15:clr>
        </p15:guide>
        <p15:guide id="4" orient="horz" pos="865">
          <p15:clr>
            <a:srgbClr val="FFC000"/>
          </p15:clr>
        </p15:guide>
        <p15:guide id="5" pos="558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25421C"/>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83751931"/>
      </p:ext>
    </p:extLst>
  </p:cSld>
  <p:clrMapOvr>
    <a:masterClrMapping/>
  </p:clrMapOvr>
  <p:extLst>
    <p:ext uri="{DCECCB84-F9BA-43D5-87BE-67443E8EF086}">
      <p15:sldGuideLst xmlns:p15="http://schemas.microsoft.com/office/powerpoint/2012/main">
        <p15:guide id="1" orient="horz" pos="3958">
          <p15:clr>
            <a:srgbClr val="FFC000"/>
          </p15:clr>
        </p15:guide>
        <p15:guide id="2" pos="3556">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US" dirty="0"/>
          </a:p>
        </p:txBody>
      </p:sp>
    </p:spTree>
    <p:extLst>
      <p:ext uri="{BB962C8B-B14F-4D97-AF65-F5344CB8AC3E}">
        <p14:creationId xmlns:p14="http://schemas.microsoft.com/office/powerpoint/2010/main" val="34299458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939996946"/>
      </p:ext>
    </p:extLst>
  </p:cSld>
  <p:clrMapOvr>
    <a:masterClrMapping/>
  </p:clrMapOvr>
  <p:extLst>
    <p:ext uri="{DCECCB84-F9BA-43D5-87BE-67443E8EF086}">
      <p15:sldGuideLst xmlns:p15="http://schemas.microsoft.com/office/powerpoint/2012/main">
        <p15:guide id="1" pos="3395">
          <p15:clr>
            <a:srgbClr val="FFC000"/>
          </p15:clr>
        </p15:guide>
        <p15:guide id="2" pos="871">
          <p15:clr>
            <a:srgbClr val="FFC000"/>
          </p15:clr>
        </p15:guide>
        <p15:guide id="3" orient="horz" pos="2904">
          <p15:clr>
            <a:srgbClr val="FFC000"/>
          </p15:clr>
        </p15:guide>
        <p15:guide id="4" orient="horz" pos="1898">
          <p15:clr>
            <a:srgbClr val="FFC000"/>
          </p15:clr>
        </p15:guide>
        <p15:guide id="5" orient="horz" pos="906">
          <p15:clr>
            <a:srgbClr val="FFC000"/>
          </p15:clr>
        </p15:guide>
        <p15:guide id="6" orient="horz" pos="3958">
          <p15:clr>
            <a:srgbClr val="FFC000"/>
          </p15:clr>
        </p15:guide>
        <p15:guide id="7" orient="horz" pos="865">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686720221"/>
      </p:ext>
    </p:extLst>
  </p:cSld>
  <p:clrMapOvr>
    <a:masterClrMapping/>
  </p:clrMapOvr>
  <p:extLst>
    <p:ext uri="{DCECCB84-F9BA-43D5-87BE-67443E8EF086}">
      <p15:sldGuideLst xmlns:p15="http://schemas.microsoft.com/office/powerpoint/2012/main">
        <p15:guide id="1" orient="horz" pos="2904">
          <p15:clr>
            <a:srgbClr val="FFC000"/>
          </p15:clr>
        </p15:guide>
        <p15:guide id="2" orient="horz" pos="1898">
          <p15:clr>
            <a:srgbClr val="FFC000"/>
          </p15:clr>
        </p15:guide>
        <p15:guide id="3" orient="horz" pos="906">
          <p15:clr>
            <a:srgbClr val="FFC000"/>
          </p15:clr>
        </p15:guide>
        <p15:guide id="4" orient="horz" pos="3958">
          <p15:clr>
            <a:srgbClr val="FFC000"/>
          </p15:clr>
        </p15:guide>
        <p15:guide id="5" orient="horz" pos="865">
          <p15:clr>
            <a:srgbClr val="FFC000"/>
          </p15:clr>
        </p15:guide>
        <p15:guide id="6" pos="873">
          <p15:clr>
            <a:srgbClr val="FFC000"/>
          </p15:clr>
        </p15:guide>
        <p15:guide id="7" pos="3393">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72485"/>
            <a:ext cx="7669213"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3466688842"/>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orient="horz" pos="2904">
          <p15:clr>
            <a:srgbClr val="FFC000"/>
          </p15:clr>
        </p15:guide>
        <p15:guide id="6" orient="horz" pos="1898">
          <p15:clr>
            <a:srgbClr val="FFC000"/>
          </p15:clr>
        </p15:guide>
        <p15:guide id="7" pos="871">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7668000" cy="612000"/>
          </a:xfrm>
        </p:spPr>
        <p:txBody>
          <a:bodyPr/>
          <a:lstStyle>
            <a:lvl1pPr>
              <a:defRPr>
                <a:solidFill>
                  <a:schemeClr val="bg1"/>
                </a:solidFill>
              </a:defRPr>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078747"/>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pos="871">
          <p15:clr>
            <a:srgbClr val="FFC000"/>
          </p15:clr>
        </p15:guide>
        <p15:guide id="6" orient="horz" pos="2904">
          <p15:clr>
            <a:srgbClr val="FFC000"/>
          </p15:clr>
        </p15:guide>
        <p15:guide id="7" orient="horz" pos="1898">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226976989"/>
      </p:ext>
    </p:extLst>
  </p:cSld>
  <p:clrMapOvr>
    <a:masterClrMapping/>
  </p:clrMapOvr>
  <p:extLst>
    <p:ext uri="{DCECCB84-F9BA-43D5-87BE-67443E8EF086}">
      <p15:sldGuideLst xmlns:p15="http://schemas.microsoft.com/office/powerpoint/2012/main">
        <p15:guide id="1" pos="1590">
          <p15:clr>
            <a:srgbClr val="FFC000"/>
          </p15:clr>
        </p15:guide>
        <p15:guide id="2" orient="horz" pos="3958">
          <p15:clr>
            <a:srgbClr val="FFC000"/>
          </p15:clr>
        </p15:guide>
        <p15:guide id="3" pos="3395">
          <p15:clr>
            <a:srgbClr val="FFC000"/>
          </p15:clr>
        </p15:guide>
        <p15:guide id="4" pos="933">
          <p15:clr>
            <a:srgbClr val="FFC000"/>
          </p15:clr>
        </p15:guide>
        <p15:guide id="5" orient="horz" pos="2904">
          <p15:clr>
            <a:srgbClr val="FFC000"/>
          </p15:clr>
        </p15:guide>
        <p15:guide id="6" orient="horz" pos="1898">
          <p15:clr>
            <a:srgbClr val="FFC000"/>
          </p15:clr>
        </p15:guide>
        <p15:guide id="7" orient="horz" pos="906">
          <p15:clr>
            <a:srgbClr val="FFC000"/>
          </p15:clr>
        </p15:guide>
        <p15:guide id="8" orient="horz" pos="865">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81154379"/>
      </p:ext>
    </p:extLst>
  </p:cSld>
  <p:clrMapOvr>
    <a:masterClrMapping/>
  </p:clrMapOvr>
  <p:extLst>
    <p:ext uri="{DCECCB84-F9BA-43D5-87BE-67443E8EF086}">
      <p15:sldGuideLst xmlns:p15="http://schemas.microsoft.com/office/powerpoint/2012/main">
        <p15:guide id="1" pos="1590">
          <p15:clr>
            <a:srgbClr val="FFC000"/>
          </p15:clr>
        </p15:guide>
        <p15:guide id="2" pos="933">
          <p15:clr>
            <a:srgbClr val="FFC000"/>
          </p15:clr>
        </p15:guide>
        <p15:guide id="3" pos="3395">
          <p15:clr>
            <a:srgbClr val="FFC000"/>
          </p15:clr>
        </p15:guide>
        <p15:guide id="4" orient="horz" pos="2904">
          <p15:clr>
            <a:srgbClr val="FFC000"/>
          </p15:clr>
        </p15:guide>
        <p15:guide id="5" orient="horz" pos="1898">
          <p15:clr>
            <a:srgbClr val="FFC000"/>
          </p15:clr>
        </p15:guide>
        <p15:guide id="6" orient="horz" pos="906">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72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2788306563"/>
      </p:ext>
    </p:extLst>
  </p:cSld>
  <p:clrMapOvr>
    <a:masterClrMapping/>
  </p:clrMapOvr>
  <p:extLst>
    <p:ext uri="{DCECCB84-F9BA-43D5-87BE-67443E8EF086}">
      <p15:sldGuideLst xmlns:p15="http://schemas.microsoft.com/office/powerpoint/2012/main">
        <p15:guide id="1" pos="3881">
          <p15:clr>
            <a:srgbClr val="FFC000"/>
          </p15:clr>
        </p15:guide>
        <p15:guide id="2" pos="5289">
          <p15:clr>
            <a:srgbClr val="FFC000"/>
          </p15:clr>
        </p15:guide>
        <p15:guide id="3" pos="4633">
          <p15:clr>
            <a:srgbClr val="FFC000"/>
          </p15:clr>
        </p15:guide>
        <p15:guide id="4" pos="7095">
          <p15:clr>
            <a:srgbClr val="FFC000"/>
          </p15:clr>
        </p15:guide>
        <p15:guide id="5" pos="1590">
          <p15:clr>
            <a:srgbClr val="FFC000"/>
          </p15:clr>
        </p15:guide>
        <p15:guide id="6" pos="933">
          <p15:clr>
            <a:srgbClr val="FFC000"/>
          </p15:clr>
        </p15:guide>
        <p15:guide id="7" pos="3395">
          <p15:clr>
            <a:srgbClr val="FFC000"/>
          </p15:clr>
        </p15:guide>
        <p15:guide id="8" orient="horz" pos="2904">
          <p15:clr>
            <a:srgbClr val="FFC000"/>
          </p15:clr>
        </p15:guide>
        <p15:guide id="9" orient="horz" pos="1898">
          <p15:clr>
            <a:srgbClr val="FFC000"/>
          </p15:clr>
        </p15:guide>
        <p15:guide id="10" orient="horz" pos="906">
          <p15:clr>
            <a:srgbClr val="FFC000"/>
          </p15:clr>
        </p15:guide>
        <p15:guide id="11" orient="horz" pos="865">
          <p15:clr>
            <a:srgbClr val="FFC000"/>
          </p15:clr>
        </p15:guide>
        <p15:guide id="12" orient="horz" pos="3958">
          <p15:clr>
            <a:srgbClr val="FFC000"/>
          </p15:clr>
        </p15:guide>
        <p15:guide id="13" pos="7500">
          <p15:clr>
            <a:srgbClr val="FFC000"/>
          </p15:clr>
        </p15:guide>
        <p15:guide id="14" pos="181">
          <p15:clr>
            <a:srgbClr val="FFC000"/>
          </p15:clr>
        </p15:guide>
        <p15:guide id="15" orient="horz" pos="4142">
          <p15:clr>
            <a:srgbClr val="FFC000"/>
          </p15:clr>
        </p15:guide>
        <p15:guide id="16" orient="horz" pos="169">
          <p15:clr>
            <a:srgbClr val="FFC00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D7FEE39F-AF01-4C24-8DDC-CF1BA81F434E}" type="slidenum">
              <a:rPr lang="en-GB" smtClean="0"/>
              <a:t>‹Nº›</a:t>
            </a:fld>
            <a:endParaRPr lang="en-GB"/>
          </a:p>
        </p:txBody>
      </p:sp>
      <p:pic>
        <p:nvPicPr>
          <p:cNvPr id="5" name="Grafik 10">
            <a:extLst>
              <a:ext uri="{FF2B5EF4-FFF2-40B4-BE49-F238E27FC236}">
                <a16:creationId xmlns:a16="http://schemas.microsoft.com/office/drawing/2014/main" id="{75BCEC29-2BC5-3234-39D0-FC2D17F5E42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987926342"/>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endParaRPr lang="en-GB"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186837303"/>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769450205"/>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412681580"/>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25421C"/>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3813120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008062000"/>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61315946"/>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5421C"/>
        </a:solidFill>
        <a:effectLst/>
      </p:bgPr>
    </p:bg>
    <p:spTree>
      <p:nvGrpSpPr>
        <p:cNvPr id="1" name=""/>
        <p:cNvGrpSpPr/>
        <p:nvPr/>
      </p:nvGrpSpPr>
      <p:grpSpPr>
        <a:xfrm>
          <a:off x="0" y="0"/>
          <a:ext cx="0" cy="0"/>
          <a:chOff x="0" y="0"/>
          <a:chExt cx="0" cy="0"/>
        </a:xfrm>
      </p:grpSpPr>
      <p:pic>
        <p:nvPicPr>
          <p:cNvPr id="3" name="Grafik 10">
            <a:extLst>
              <a:ext uri="{FF2B5EF4-FFF2-40B4-BE49-F238E27FC236}">
                <a16:creationId xmlns:a16="http://schemas.microsoft.com/office/drawing/2014/main" id="{B94BCFD9-747C-BA52-E311-DE236FD4E5F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358645" y="3200400"/>
            <a:ext cx="3474710" cy="457200"/>
          </a:xfrm>
          <a:prstGeom prst="rect">
            <a:avLst/>
          </a:prstGeom>
        </p:spPr>
      </p:pic>
    </p:spTree>
    <p:extLst>
      <p:ext uri="{BB962C8B-B14F-4D97-AF65-F5344CB8AC3E}">
        <p14:creationId xmlns:p14="http://schemas.microsoft.com/office/powerpoint/2010/main" val="1616509875"/>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a:t>Click to edit Master subtitle style</a:t>
            </a:r>
            <a:endParaRPr lang="en-GB"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Tree>
    <p:extLst>
      <p:ext uri="{BB962C8B-B14F-4D97-AF65-F5344CB8AC3E}">
        <p14:creationId xmlns:p14="http://schemas.microsoft.com/office/powerpoint/2010/main" val="3754384051"/>
      </p:ext>
    </p:extLst>
  </p:cSld>
  <p:clrMapOvr>
    <a:masterClrMapping/>
  </p:clrMapOvr>
  <p:extLst>
    <p:ext uri="{DCECCB84-F9BA-43D5-87BE-67443E8EF086}">
      <p15:sldGuideLst xmlns:p15="http://schemas.microsoft.com/office/powerpoint/2012/main">
        <p15:guide id="1" orient="horz" pos="1496">
          <p15:clr>
            <a:srgbClr val="FFC000"/>
          </p15:clr>
        </p15:guide>
        <p15:guide id="2" orient="horz" pos="3958">
          <p15:clr>
            <a:srgbClr val="FFC000"/>
          </p15:clr>
        </p15:guide>
        <p15:guide id="3" orient="horz" pos="865">
          <p15:clr>
            <a:srgbClr val="FFC000"/>
          </p15:clr>
        </p15:guide>
        <p15:guide id="4" pos="7497">
          <p15:clr>
            <a:srgbClr val="FFC000"/>
          </p15:clr>
        </p15:guide>
        <p15:guide id="5" pos="178">
          <p15:clr>
            <a:srgbClr val="FFC000"/>
          </p15:clr>
        </p15:guide>
        <p15:guide id="6" orient="horz" pos="4142">
          <p15:clr>
            <a:srgbClr val="FFC000"/>
          </p15:clr>
        </p15:guide>
        <p15:guide id="7" orient="horz" pos="173">
          <p15:clr>
            <a:srgbClr val="FFC00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a:t>Click to edit Master subtitle style</a:t>
            </a:r>
            <a:endParaRPr lang="en-GB"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Tree>
    <p:extLst>
      <p:ext uri="{BB962C8B-B14F-4D97-AF65-F5344CB8AC3E}">
        <p14:creationId xmlns:p14="http://schemas.microsoft.com/office/powerpoint/2010/main" val="3102236014"/>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3839">
          <p15:clr>
            <a:srgbClr val="FFC000"/>
          </p15:clr>
        </p15:guide>
        <p15:guide id="4" orient="horz" pos="1495">
          <p15:clr>
            <a:srgbClr val="FFC000"/>
          </p15:clr>
        </p15:guide>
        <p15:guide id="5" pos="3525">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3B2398"/>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2042530563"/>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350">
          <p15:clr>
            <a:srgbClr val="FFC000"/>
          </p15:clr>
        </p15:guide>
        <p15:guide id="3" orient="horz" pos="1518">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D7FEE39F-AF01-4C24-8DDC-CF1BA81F434E}" type="slidenum">
              <a:rPr lang="en-GB" smtClean="0"/>
              <a:t>‹Nº›</a:t>
            </a:fld>
            <a:endParaRPr lang="en-GB"/>
          </a:p>
        </p:txBody>
      </p:sp>
      <p:pic>
        <p:nvPicPr>
          <p:cNvPr id="5" name="Grafik 10">
            <a:extLst>
              <a:ext uri="{FF2B5EF4-FFF2-40B4-BE49-F238E27FC236}">
                <a16:creationId xmlns:a16="http://schemas.microsoft.com/office/drawing/2014/main" id="{DCBA62C2-C7B7-87CF-008A-31AD89387C9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155733217"/>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dirty="0"/>
              <a:t>00</a:t>
            </a:r>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3B2398"/>
          </a:solidFill>
        </p:spPr>
        <p:txBody>
          <a:bodyPr/>
          <a:lstStyle>
            <a:lvl1pPr>
              <a:defRPr sz="100" b="0">
                <a:solidFill>
                  <a:srgbClr val="3C3E00"/>
                </a:solidFill>
              </a:defRPr>
            </a:lvl1pPr>
          </a:lstStyle>
          <a:p>
            <a:r>
              <a:rPr lang="en-GB" dirty="0"/>
              <a:t>.</a:t>
            </a:r>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3B2398"/>
          </a:solidFill>
        </p:spPr>
        <p:txBody>
          <a:bodyPr/>
          <a:lstStyle>
            <a:lvl1pPr>
              <a:defRPr sz="100" b="0">
                <a:solidFill>
                  <a:srgbClr val="3C3E00"/>
                </a:solidFill>
              </a:defRPr>
            </a:lvl1pPr>
          </a:lstStyle>
          <a:p>
            <a:r>
              <a:rPr lang="en-GB" dirty="0"/>
              <a:t>.</a:t>
            </a:r>
          </a:p>
        </p:txBody>
      </p:sp>
    </p:spTree>
    <p:extLst>
      <p:ext uri="{BB962C8B-B14F-4D97-AF65-F5344CB8AC3E}">
        <p14:creationId xmlns:p14="http://schemas.microsoft.com/office/powerpoint/2010/main" val="3804538555"/>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529">
          <p15:clr>
            <a:srgbClr val="FFC000"/>
          </p15:clr>
        </p15:guide>
        <p15:guide id="3" orient="horz" pos="1347">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3B2398"/>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1500920645"/>
      </p:ext>
    </p:extLst>
  </p:cSld>
  <p:clrMapOvr>
    <a:masterClrMapping/>
  </p:clrMapOvr>
  <p:extLst>
    <p:ext uri="{DCECCB84-F9BA-43D5-87BE-67443E8EF086}">
      <p15:sldGuideLst xmlns:p15="http://schemas.microsoft.com/office/powerpoint/2012/main">
        <p15:guide id="1" pos="1704">
          <p15:clr>
            <a:srgbClr val="FFC000"/>
          </p15:clr>
        </p15:guide>
        <p15:guide id="2" orient="horz" pos="1521">
          <p15:clr>
            <a:srgbClr val="FFC000"/>
          </p15:clr>
        </p15:guide>
        <p15:guide id="3" orient="horz" pos="1347">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3B2398"/>
          </a:solidFill>
        </p:spPr>
        <p:txBody>
          <a:bodyPr/>
          <a:lstStyle>
            <a:lvl1pPr>
              <a:defRPr sz="100" b="0">
                <a:solidFill>
                  <a:srgbClr val="3C3E00"/>
                </a:solidFill>
              </a:defRPr>
            </a:lvl1pPr>
          </a:lstStyle>
          <a:p>
            <a:r>
              <a:rPr lang="en-GB"/>
              <a:t>.</a:t>
            </a:r>
            <a:endParaRPr lang="en-GB" dirty="0"/>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3B2398"/>
          </a:solidFill>
        </p:spPr>
        <p:txBody>
          <a:bodyPr/>
          <a:lstStyle>
            <a:lvl1pPr>
              <a:defRPr sz="100" b="0">
                <a:solidFill>
                  <a:srgbClr val="3C3E00"/>
                </a:solidFill>
              </a:defRPr>
            </a:lvl1pPr>
          </a:lstStyle>
          <a:p>
            <a:r>
              <a:rPr lang="en-GB"/>
              <a:t>.</a:t>
            </a:r>
            <a:endParaRPr lang="en-GB" dirty="0"/>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endParaRPr lang="en-GB"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788437541"/>
      </p:ext>
    </p:extLst>
  </p:cSld>
  <p:clrMapOvr>
    <a:masterClrMapping/>
  </p:clrMapOvr>
  <p:extLst>
    <p:ext uri="{DCECCB84-F9BA-43D5-87BE-67443E8EF086}">
      <p15:sldGuideLst xmlns:p15="http://schemas.microsoft.com/office/powerpoint/2012/main">
        <p15:guide id="1" orient="horz" pos="1521">
          <p15:clr>
            <a:srgbClr val="FFC000"/>
          </p15:clr>
        </p15:guide>
        <p15:guide id="2" orient="horz" pos="1347">
          <p15:clr>
            <a:srgbClr val="FFC000"/>
          </p15:clr>
        </p15:guide>
        <p15:guide id="3" pos="1704">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3B2398"/>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GB"/>
              <a:t>.</a:t>
            </a:r>
            <a:endParaRPr lang="en-GB" dirty="0"/>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430622739"/>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1696">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3B2398"/>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54114709"/>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3B23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768919041"/>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952958568"/>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lvl1pPr>
              <a:defRPr>
                <a:solidFill>
                  <a:schemeClr val="bg1"/>
                </a:solidFill>
              </a:defRPr>
            </a:lvl1p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3B23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48726437"/>
      </p:ext>
    </p:extLst>
  </p:cSld>
  <p:clrMapOvr>
    <a:masterClrMapping/>
  </p:clrMapOvr>
  <p:extLst>
    <p:ext uri="{DCECCB84-F9BA-43D5-87BE-67443E8EF086}">
      <p15:sldGuideLst xmlns:p15="http://schemas.microsoft.com/office/powerpoint/2012/main">
        <p15:guide id="1" orient="horz" pos="865">
          <p15:clr>
            <a:srgbClr val="FFC000"/>
          </p15:clr>
        </p15:guide>
        <p15:guide id="2" pos="4981">
          <p15:clr>
            <a:srgbClr val="FFC000"/>
          </p15:clr>
        </p15:guide>
        <p15:guide id="3" orient="horz" pos="3957">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3B2398"/>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59456445"/>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3393">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938480807"/>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1753176252"/>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55362978"/>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074323104"/>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3B2398"/>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662010985"/>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orient="horz" pos="865">
          <p15:clr>
            <a:srgbClr val="FFC000"/>
          </p15:clr>
        </p15:guide>
        <p15:guide id="4" orient="horz" pos="3957">
          <p15:clr>
            <a:srgbClr val="FFC000"/>
          </p15:clr>
        </p15:guide>
        <p15:guide id="5" pos="3393">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905378759"/>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endParaRPr lang="en-GB"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320552779"/>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8">
          <p15:clr>
            <a:srgbClr val="FFC000"/>
          </p15:clr>
        </p15:guide>
        <p15:guide id="3" pos="7500">
          <p15:clr>
            <a:srgbClr val="FFC000"/>
          </p15:clr>
        </p15:guide>
        <p15:guide id="4" pos="3912">
          <p15:clr>
            <a:srgbClr val="FFC000"/>
          </p15:clr>
        </p15:guide>
        <p15:guide id="5" pos="3767">
          <p15:clr>
            <a:srgbClr val="FFC000"/>
          </p15:clr>
        </p15:guide>
        <p15:guide id="6" pos="181">
          <p15:clr>
            <a:srgbClr val="FFC000"/>
          </p15:clr>
        </p15:guide>
        <p15:guide id="7" orient="horz" pos="4139">
          <p15:clr>
            <a:srgbClr val="FFC000"/>
          </p15:clr>
        </p15:guide>
        <p15:guide id="8" orient="horz" pos="169">
          <p15:clr>
            <a:srgbClr val="FFC00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endParaRPr lang="en-GB"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38674711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158">
          <p15:clr>
            <a:srgbClr val="FFC000"/>
          </p15:clr>
        </p15:guide>
        <p15:guide id="4" pos="5015">
          <p15:clr>
            <a:srgbClr val="FFC000"/>
          </p15:clr>
        </p15:guide>
        <p15:guide id="5" pos="2677">
          <p15:clr>
            <a:srgbClr val="FFC000"/>
          </p15:clr>
        </p15:guide>
        <p15:guide id="6" pos="250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86080961"/>
      </p:ext>
    </p:extLst>
  </p:cSld>
  <p:clrMapOvr>
    <a:masterClrMapping/>
  </p:clrMapOvr>
  <p:extLst>
    <p:ext uri="{DCECCB84-F9BA-43D5-87BE-67443E8EF086}">
      <p15:sldGuideLst xmlns:p15="http://schemas.microsoft.com/office/powerpoint/2012/main">
        <p15:guide id="1" pos="5799">
          <p15:clr>
            <a:srgbClr val="FFC000"/>
          </p15:clr>
        </p15:guide>
        <p15:guide id="2" pos="5617">
          <p15:clr>
            <a:srgbClr val="FFC000"/>
          </p15:clr>
        </p15:guide>
        <p15:guide id="3" pos="3912">
          <p15:clr>
            <a:srgbClr val="FFC000"/>
          </p15:clr>
        </p15:guide>
        <p15:guide id="4" pos="3754">
          <p15:clr>
            <a:srgbClr val="FFC000"/>
          </p15:clr>
        </p15:guide>
        <p15:guide id="5" pos="2055">
          <p15:clr>
            <a:srgbClr val="FFC000"/>
          </p15:clr>
        </p15:guide>
        <p15:guide id="6" pos="1873">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60025750"/>
      </p:ext>
    </p:extLst>
  </p:cSld>
  <p:clrMapOvr>
    <a:masterClrMapping/>
  </p:clrMapOvr>
  <p:extLst>
    <p:ext uri="{DCECCB84-F9BA-43D5-87BE-67443E8EF086}">
      <p15:sldGuideLst xmlns:p15="http://schemas.microsoft.com/office/powerpoint/2012/main">
        <p15:guide id="1" pos="5799">
          <p15:clr>
            <a:srgbClr val="FFC000"/>
          </p15:clr>
        </p15:guide>
        <p15:guide id="2" pos="5625">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8709033"/>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007103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endParaRPr lang="en-GB"/>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3668353059"/>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8">
          <p15:clr>
            <a:srgbClr val="FFC000"/>
          </p15:clr>
        </p15:guide>
        <p15:guide id="3" pos="7500">
          <p15:clr>
            <a:srgbClr val="FFC000"/>
          </p15:clr>
        </p15:guide>
        <p15:guide id="4" pos="3912">
          <p15:clr>
            <a:srgbClr val="FFC000"/>
          </p15:clr>
        </p15:guide>
        <p15:guide id="5" pos="3767">
          <p15:clr>
            <a:srgbClr val="FFC000"/>
          </p15:clr>
        </p15:guide>
        <p15:guide id="6" pos="181">
          <p15:clr>
            <a:srgbClr val="FFC000"/>
          </p15:clr>
        </p15:guide>
        <p15:guide id="7" orient="horz" pos="4139">
          <p15:clr>
            <a:srgbClr val="FFC000"/>
          </p15:clr>
        </p15:guide>
        <p15:guide id="8" orient="horz" pos="169">
          <p15:clr>
            <a:srgbClr val="FFC00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7802169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75684616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3564291039"/>
      </p:ext>
    </p:extLst>
  </p:cSld>
  <p:clrMapOvr>
    <a:masterClrMapping/>
  </p:clrMapOvr>
  <p:extLst>
    <p:ext uri="{DCECCB84-F9BA-43D5-87BE-67443E8EF086}">
      <p15:sldGuideLst xmlns:p15="http://schemas.microsoft.com/office/powerpoint/2012/main">
        <p15:guide id="1" pos="5808">
          <p15:clr>
            <a:srgbClr val="FFC000"/>
          </p15:clr>
        </p15:guide>
        <p15:guide id="2" pos="5627">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4063270437"/>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2151103149"/>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98667408"/>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806">
          <p15:clr>
            <a:srgbClr val="FFC000"/>
          </p15:clr>
        </p15:guide>
        <p15:guide id="4" pos="5617">
          <p15:clr>
            <a:srgbClr val="FFC000"/>
          </p15:clr>
        </p15:guide>
        <p15:guide id="5" pos="3912">
          <p15:clr>
            <a:srgbClr val="FFC000"/>
          </p15:clr>
        </p15:guide>
        <p15:guide id="6" pos="3754">
          <p15:clr>
            <a:srgbClr val="FFC000"/>
          </p15:clr>
        </p15:guide>
        <p15:guide id="7" pos="2055">
          <p15:clr>
            <a:srgbClr val="FFC000"/>
          </p15:clr>
        </p15:guide>
        <p15:guide id="8" pos="1873">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D4CFFF"/>
          </a:solidFill>
        </p:spPr>
        <p:txBody>
          <a:bodyPr wrap="square" lIns="144000" tIns="144000" rIns="144000" bIns="144000" anchor="ctr" anchorCtr="0">
            <a:noAutofit/>
          </a:bodyPr>
          <a:lstStyle>
            <a:lvl1pPr algn="ctr">
              <a:defRPr>
                <a:solidFill>
                  <a:srgbClr val="3B2398"/>
                </a:solidFill>
              </a:defRPr>
            </a:lvl1pPr>
            <a:lvl2pPr marL="0" indent="0" algn="ctr">
              <a:spcAft>
                <a:spcPts val="600"/>
              </a:spcAft>
              <a:buNone/>
              <a:defRPr sz="2000" b="1">
                <a:solidFill>
                  <a:srgbClr val="3B2398"/>
                </a:solidFill>
              </a:defRPr>
            </a:lvl2pPr>
            <a:lvl3pPr marL="0" indent="0" algn="ctr">
              <a:spcAft>
                <a:spcPts val="600"/>
              </a:spcAft>
              <a:buNone/>
              <a:defRPr sz="3000" b="0">
                <a:solidFill>
                  <a:srgbClr val="3B2398"/>
                </a:solidFill>
              </a:defRPr>
            </a:lvl3pPr>
            <a:lvl4pPr marL="0" indent="0" algn="ctr">
              <a:spcAft>
                <a:spcPts val="600"/>
              </a:spcAft>
              <a:buNone/>
              <a:defRPr sz="4800">
                <a:solidFill>
                  <a:srgbClr val="3B2398"/>
                </a:solidFill>
              </a:defRPr>
            </a:lvl4pPr>
            <a:lvl5pPr>
              <a:spcAft>
                <a:spcPts val="600"/>
              </a:spcAft>
              <a:defRPr sz="1400">
                <a:solidFill>
                  <a:srgbClr val="3B2398"/>
                </a:solidFill>
              </a:defRPr>
            </a:lvl5pPr>
            <a:lvl6pPr>
              <a:spcAft>
                <a:spcPts val="600"/>
              </a:spcAft>
              <a:defRPr sz="1400">
                <a:solidFill>
                  <a:srgbClr val="3B2398"/>
                </a:solidFill>
              </a:defRPr>
            </a:lvl6pPr>
            <a:lvl7pPr>
              <a:spcAft>
                <a:spcPts val="600"/>
              </a:spcAft>
              <a:defRPr sz="1400">
                <a:solidFill>
                  <a:srgbClr val="3B2398"/>
                </a:solidFill>
              </a:defRPr>
            </a:lvl7pPr>
            <a:lvl8pPr>
              <a:spcAft>
                <a:spcPts val="600"/>
              </a:spcAft>
              <a:defRPr sz="1400">
                <a:solidFill>
                  <a:srgbClr val="3B2398"/>
                </a:solidFill>
              </a:defRPr>
            </a:lvl8pPr>
            <a:lvl9pPr>
              <a:defRPr>
                <a:solidFill>
                  <a:srgbClr val="3B2398"/>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2127890221"/>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2497">
          <p15:clr>
            <a:srgbClr val="FFC000"/>
          </p15:clr>
        </p15:guide>
        <p15:guide id="3" orient="horz" pos="3958">
          <p15:clr>
            <a:srgbClr val="FFC000"/>
          </p15:clr>
        </p15:guide>
        <p15:guide id="4" orient="horz" pos="865">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B2398"/>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544399568"/>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3958">
          <p15:clr>
            <a:srgbClr val="FFC000"/>
          </p15:clr>
        </p15:guide>
        <p15:guide id="3" orient="horz" pos="865">
          <p15:clr>
            <a:srgbClr val="FFC000"/>
          </p15:clr>
        </p15:guide>
        <p15:guide id="4" orient="horz" pos="2497">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206087718"/>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pos="5585">
          <p15:clr>
            <a:srgbClr val="FFC000"/>
          </p15:clr>
        </p15:guide>
        <p15:guide id="4" orient="horz" pos="3958">
          <p15:clr>
            <a:srgbClr val="FFC000"/>
          </p15:clr>
        </p15:guide>
        <p15:guide id="5" orient="horz" pos="86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3B2398"/>
          </a:solid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40491407"/>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orient="horz" pos="3958">
          <p15:clr>
            <a:srgbClr val="FFC000"/>
          </p15:clr>
        </p15:guide>
        <p15:guide id="4" orient="horz" pos="865">
          <p15:clr>
            <a:srgbClr val="FFC000"/>
          </p15:clr>
        </p15:guide>
        <p15:guide id="5" pos="558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7" name="Rectangle 16">
            <a:extLst>
              <a:ext uri="{FF2B5EF4-FFF2-40B4-BE49-F238E27FC236}">
                <a16:creationId xmlns:a16="http://schemas.microsoft.com/office/drawing/2014/main" id="{1F0F0774-A736-B58B-3457-888B317F237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endParaRPr lang="en-GB"/>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3074193063"/>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158">
          <p15:clr>
            <a:srgbClr val="FFC000"/>
          </p15:clr>
        </p15:guide>
        <p15:guide id="4" pos="5015">
          <p15:clr>
            <a:srgbClr val="FFC000"/>
          </p15:clr>
        </p15:guide>
        <p15:guide id="5" pos="2677">
          <p15:clr>
            <a:srgbClr val="FFC000"/>
          </p15:clr>
        </p15:guide>
        <p15:guide id="6" pos="250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3B2398"/>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93704829"/>
      </p:ext>
    </p:extLst>
  </p:cSld>
  <p:clrMapOvr>
    <a:masterClrMapping/>
  </p:clrMapOvr>
  <p:extLst>
    <p:ext uri="{DCECCB84-F9BA-43D5-87BE-67443E8EF086}">
      <p15:sldGuideLst xmlns:p15="http://schemas.microsoft.com/office/powerpoint/2012/main">
        <p15:guide id="1" orient="horz" pos="3958">
          <p15:clr>
            <a:srgbClr val="FFC000"/>
          </p15:clr>
        </p15:guide>
        <p15:guide id="2" pos="3556">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US" dirty="0"/>
          </a:p>
        </p:txBody>
      </p:sp>
    </p:spTree>
    <p:extLst>
      <p:ext uri="{BB962C8B-B14F-4D97-AF65-F5344CB8AC3E}">
        <p14:creationId xmlns:p14="http://schemas.microsoft.com/office/powerpoint/2010/main" val="223496719"/>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872763241"/>
      </p:ext>
    </p:extLst>
  </p:cSld>
  <p:clrMapOvr>
    <a:masterClrMapping/>
  </p:clrMapOvr>
  <p:extLst>
    <p:ext uri="{DCECCB84-F9BA-43D5-87BE-67443E8EF086}">
      <p15:sldGuideLst xmlns:p15="http://schemas.microsoft.com/office/powerpoint/2012/main">
        <p15:guide id="1" pos="3395">
          <p15:clr>
            <a:srgbClr val="FFC000"/>
          </p15:clr>
        </p15:guide>
        <p15:guide id="2" pos="871">
          <p15:clr>
            <a:srgbClr val="FFC000"/>
          </p15:clr>
        </p15:guide>
        <p15:guide id="3" orient="horz" pos="2904">
          <p15:clr>
            <a:srgbClr val="FFC000"/>
          </p15:clr>
        </p15:guide>
        <p15:guide id="4" orient="horz" pos="1898">
          <p15:clr>
            <a:srgbClr val="FFC000"/>
          </p15:clr>
        </p15:guide>
        <p15:guide id="5" orient="horz" pos="906">
          <p15:clr>
            <a:srgbClr val="FFC000"/>
          </p15:clr>
        </p15:guide>
        <p15:guide id="6" orient="horz" pos="3958">
          <p15:clr>
            <a:srgbClr val="FFC000"/>
          </p15:clr>
        </p15:guide>
        <p15:guide id="7" orient="horz" pos="865">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92812925"/>
      </p:ext>
    </p:extLst>
  </p:cSld>
  <p:clrMapOvr>
    <a:masterClrMapping/>
  </p:clrMapOvr>
  <p:extLst>
    <p:ext uri="{DCECCB84-F9BA-43D5-87BE-67443E8EF086}">
      <p15:sldGuideLst xmlns:p15="http://schemas.microsoft.com/office/powerpoint/2012/main">
        <p15:guide id="1" orient="horz" pos="2904">
          <p15:clr>
            <a:srgbClr val="FFC000"/>
          </p15:clr>
        </p15:guide>
        <p15:guide id="2" orient="horz" pos="1898">
          <p15:clr>
            <a:srgbClr val="FFC000"/>
          </p15:clr>
        </p15:guide>
        <p15:guide id="3" orient="horz" pos="906">
          <p15:clr>
            <a:srgbClr val="FFC000"/>
          </p15:clr>
        </p15:guide>
        <p15:guide id="4" orient="horz" pos="3958">
          <p15:clr>
            <a:srgbClr val="FFC000"/>
          </p15:clr>
        </p15:guide>
        <p15:guide id="5" orient="horz" pos="865">
          <p15:clr>
            <a:srgbClr val="FFC000"/>
          </p15:clr>
        </p15:guide>
        <p15:guide id="6" pos="873">
          <p15:clr>
            <a:srgbClr val="FFC000"/>
          </p15:clr>
        </p15:guide>
        <p15:guide id="7" pos="3393">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72485"/>
            <a:ext cx="7669213"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68818678"/>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orient="horz" pos="2904">
          <p15:clr>
            <a:srgbClr val="FFC000"/>
          </p15:clr>
        </p15:guide>
        <p15:guide id="6" orient="horz" pos="1898">
          <p15:clr>
            <a:srgbClr val="FFC000"/>
          </p15:clr>
        </p15:guide>
        <p15:guide id="7" pos="871">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7668000" cy="612000"/>
          </a:xfrm>
        </p:spPr>
        <p:txBody>
          <a:bodyPr/>
          <a:lstStyle>
            <a:lvl1pPr>
              <a:defRPr>
                <a:solidFill>
                  <a:schemeClr val="bg1"/>
                </a:solidFill>
              </a:defRPr>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694108"/>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pos="871">
          <p15:clr>
            <a:srgbClr val="FFC000"/>
          </p15:clr>
        </p15:guide>
        <p15:guide id="6" orient="horz" pos="2904">
          <p15:clr>
            <a:srgbClr val="FFC000"/>
          </p15:clr>
        </p15:guide>
        <p15:guide id="7" orient="horz" pos="1898">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07901984"/>
      </p:ext>
    </p:extLst>
  </p:cSld>
  <p:clrMapOvr>
    <a:masterClrMapping/>
  </p:clrMapOvr>
  <p:extLst>
    <p:ext uri="{DCECCB84-F9BA-43D5-87BE-67443E8EF086}">
      <p15:sldGuideLst xmlns:p15="http://schemas.microsoft.com/office/powerpoint/2012/main">
        <p15:guide id="1" pos="1590">
          <p15:clr>
            <a:srgbClr val="FFC000"/>
          </p15:clr>
        </p15:guide>
        <p15:guide id="2" orient="horz" pos="3958">
          <p15:clr>
            <a:srgbClr val="FFC000"/>
          </p15:clr>
        </p15:guide>
        <p15:guide id="3" pos="3395">
          <p15:clr>
            <a:srgbClr val="FFC000"/>
          </p15:clr>
        </p15:guide>
        <p15:guide id="4" pos="933">
          <p15:clr>
            <a:srgbClr val="FFC000"/>
          </p15:clr>
        </p15:guide>
        <p15:guide id="5" orient="horz" pos="2904">
          <p15:clr>
            <a:srgbClr val="FFC000"/>
          </p15:clr>
        </p15:guide>
        <p15:guide id="6" orient="horz" pos="1898">
          <p15:clr>
            <a:srgbClr val="FFC000"/>
          </p15:clr>
        </p15:guide>
        <p15:guide id="7" orient="horz" pos="906">
          <p15:clr>
            <a:srgbClr val="FFC000"/>
          </p15:clr>
        </p15:guide>
        <p15:guide id="8" orient="horz" pos="865">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221720528"/>
      </p:ext>
    </p:extLst>
  </p:cSld>
  <p:clrMapOvr>
    <a:masterClrMapping/>
  </p:clrMapOvr>
  <p:extLst>
    <p:ext uri="{DCECCB84-F9BA-43D5-87BE-67443E8EF086}">
      <p15:sldGuideLst xmlns:p15="http://schemas.microsoft.com/office/powerpoint/2012/main">
        <p15:guide id="1" pos="1590">
          <p15:clr>
            <a:srgbClr val="FFC000"/>
          </p15:clr>
        </p15:guide>
        <p15:guide id="2" pos="933">
          <p15:clr>
            <a:srgbClr val="FFC000"/>
          </p15:clr>
        </p15:guide>
        <p15:guide id="3" pos="3395">
          <p15:clr>
            <a:srgbClr val="FFC000"/>
          </p15:clr>
        </p15:guide>
        <p15:guide id="4" orient="horz" pos="2904">
          <p15:clr>
            <a:srgbClr val="FFC000"/>
          </p15:clr>
        </p15:guide>
        <p15:guide id="5" orient="horz" pos="1898">
          <p15:clr>
            <a:srgbClr val="FFC000"/>
          </p15:clr>
        </p15:guide>
        <p15:guide id="6" orient="horz" pos="906">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72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1554702737"/>
      </p:ext>
    </p:extLst>
  </p:cSld>
  <p:clrMapOvr>
    <a:masterClrMapping/>
  </p:clrMapOvr>
  <p:extLst>
    <p:ext uri="{DCECCB84-F9BA-43D5-87BE-67443E8EF086}">
      <p15:sldGuideLst xmlns:p15="http://schemas.microsoft.com/office/powerpoint/2012/main">
        <p15:guide id="1" pos="3881">
          <p15:clr>
            <a:srgbClr val="FFC000"/>
          </p15:clr>
        </p15:guide>
        <p15:guide id="2" pos="5289">
          <p15:clr>
            <a:srgbClr val="FFC000"/>
          </p15:clr>
        </p15:guide>
        <p15:guide id="3" pos="4633">
          <p15:clr>
            <a:srgbClr val="FFC000"/>
          </p15:clr>
        </p15:guide>
        <p15:guide id="4" pos="7095">
          <p15:clr>
            <a:srgbClr val="FFC000"/>
          </p15:clr>
        </p15:guide>
        <p15:guide id="5" pos="1590">
          <p15:clr>
            <a:srgbClr val="FFC000"/>
          </p15:clr>
        </p15:guide>
        <p15:guide id="6" pos="933">
          <p15:clr>
            <a:srgbClr val="FFC000"/>
          </p15:clr>
        </p15:guide>
        <p15:guide id="7" pos="3395">
          <p15:clr>
            <a:srgbClr val="FFC000"/>
          </p15:clr>
        </p15:guide>
        <p15:guide id="8" orient="horz" pos="2904">
          <p15:clr>
            <a:srgbClr val="FFC000"/>
          </p15:clr>
        </p15:guide>
        <p15:guide id="9" orient="horz" pos="1898">
          <p15:clr>
            <a:srgbClr val="FFC000"/>
          </p15:clr>
        </p15:guide>
        <p15:guide id="10" orient="horz" pos="906">
          <p15:clr>
            <a:srgbClr val="FFC000"/>
          </p15:clr>
        </p15:guide>
        <p15:guide id="11" orient="horz" pos="865">
          <p15:clr>
            <a:srgbClr val="FFC000"/>
          </p15:clr>
        </p15:guide>
        <p15:guide id="12" orient="horz" pos="3958">
          <p15:clr>
            <a:srgbClr val="FFC000"/>
          </p15:clr>
        </p15:guide>
        <p15:guide id="13" pos="7500">
          <p15:clr>
            <a:srgbClr val="FFC000"/>
          </p15:clr>
        </p15:guide>
        <p15:guide id="14" pos="181">
          <p15:clr>
            <a:srgbClr val="FFC000"/>
          </p15:clr>
        </p15:guide>
        <p15:guide id="15" orient="horz" pos="4142">
          <p15:clr>
            <a:srgbClr val="FFC000"/>
          </p15:clr>
        </p15:guide>
        <p15:guide id="16" orient="horz" pos="169">
          <p15:clr>
            <a:srgbClr val="FFC00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endParaRPr lang="en-GB"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695891800"/>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355824814"/>
      </p:ext>
    </p:extLst>
  </p:cSld>
  <p:clrMapOvr>
    <a:masterClrMapping/>
  </p:clrMapOvr>
  <p:extLst>
    <p:ext uri="{DCECCB84-F9BA-43D5-87BE-67443E8EF086}">
      <p15:sldGuideLst xmlns:p15="http://schemas.microsoft.com/office/powerpoint/2012/main">
        <p15:guide id="1" pos="5799">
          <p15:clr>
            <a:srgbClr val="FFC000"/>
          </p15:clr>
        </p15:guide>
        <p15:guide id="2" pos="5617">
          <p15:clr>
            <a:srgbClr val="FFC000"/>
          </p15:clr>
        </p15:guide>
        <p15:guide id="3" pos="3912">
          <p15:clr>
            <a:srgbClr val="FFC000"/>
          </p15:clr>
        </p15:guide>
        <p15:guide id="4" pos="3754">
          <p15:clr>
            <a:srgbClr val="FFC000"/>
          </p15:clr>
        </p15:guide>
        <p15:guide id="5" pos="2055">
          <p15:clr>
            <a:srgbClr val="FFC000"/>
          </p15:clr>
        </p15:guide>
        <p15:guide id="6" pos="1873">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567447080"/>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181324989"/>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3B2398"/>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908421167"/>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365983216"/>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292926942"/>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3B2398"/>
        </a:solidFill>
        <a:effectLst/>
      </p:bgPr>
    </p:bg>
    <p:spTree>
      <p:nvGrpSpPr>
        <p:cNvPr id="1" name=""/>
        <p:cNvGrpSpPr/>
        <p:nvPr/>
      </p:nvGrpSpPr>
      <p:grpSpPr>
        <a:xfrm>
          <a:off x="0" y="0"/>
          <a:ext cx="0" cy="0"/>
          <a:chOff x="0" y="0"/>
          <a:chExt cx="0" cy="0"/>
        </a:xfrm>
      </p:grpSpPr>
      <p:pic>
        <p:nvPicPr>
          <p:cNvPr id="3" name="Grafik 10">
            <a:extLst>
              <a:ext uri="{FF2B5EF4-FFF2-40B4-BE49-F238E27FC236}">
                <a16:creationId xmlns:a16="http://schemas.microsoft.com/office/drawing/2014/main" id="{B94BCFD9-747C-BA52-E311-DE236FD4E5F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358645" y="3200400"/>
            <a:ext cx="3474710" cy="457200"/>
          </a:xfrm>
          <a:prstGeom prst="rect">
            <a:avLst/>
          </a:prstGeom>
        </p:spPr>
      </p:pic>
    </p:spTree>
    <p:extLst>
      <p:ext uri="{BB962C8B-B14F-4D97-AF65-F5344CB8AC3E}">
        <p14:creationId xmlns:p14="http://schemas.microsoft.com/office/powerpoint/2010/main" val="3970708878"/>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a:t>Click to edit Master subtitle style</a:t>
            </a:r>
            <a:endParaRPr lang="en-GB"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Tree>
    <p:extLst>
      <p:ext uri="{BB962C8B-B14F-4D97-AF65-F5344CB8AC3E}">
        <p14:creationId xmlns:p14="http://schemas.microsoft.com/office/powerpoint/2010/main" val="1020053250"/>
      </p:ext>
    </p:extLst>
  </p:cSld>
  <p:clrMapOvr>
    <a:masterClrMapping/>
  </p:clrMapOvr>
  <p:extLst>
    <p:ext uri="{DCECCB84-F9BA-43D5-87BE-67443E8EF086}">
      <p15:sldGuideLst xmlns:p15="http://schemas.microsoft.com/office/powerpoint/2012/main">
        <p15:guide id="1" orient="horz" pos="1496">
          <p15:clr>
            <a:srgbClr val="FFC000"/>
          </p15:clr>
        </p15:guide>
        <p15:guide id="2" orient="horz" pos="3958">
          <p15:clr>
            <a:srgbClr val="FFC000"/>
          </p15:clr>
        </p15:guide>
        <p15:guide id="3" orient="horz" pos="865">
          <p15:clr>
            <a:srgbClr val="FFC000"/>
          </p15:clr>
        </p15:guide>
        <p15:guide id="4" pos="7497">
          <p15:clr>
            <a:srgbClr val="FFC000"/>
          </p15:clr>
        </p15:guide>
        <p15:guide id="5" pos="178">
          <p15:clr>
            <a:srgbClr val="FFC000"/>
          </p15:clr>
        </p15:guide>
        <p15:guide id="6" orient="horz" pos="4142">
          <p15:clr>
            <a:srgbClr val="FFC000"/>
          </p15:clr>
        </p15:guide>
        <p15:guide id="7" orient="horz" pos="173">
          <p15:clr>
            <a:srgbClr val="FFC00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a:t>Click to edit Master subtitle style</a:t>
            </a:r>
            <a:endParaRPr lang="en-GB"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Tree>
    <p:extLst>
      <p:ext uri="{BB962C8B-B14F-4D97-AF65-F5344CB8AC3E}">
        <p14:creationId xmlns:p14="http://schemas.microsoft.com/office/powerpoint/2010/main" val="71463565"/>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3839">
          <p15:clr>
            <a:srgbClr val="FFC000"/>
          </p15:clr>
        </p15:guide>
        <p15:guide id="4" orient="horz" pos="1495">
          <p15:clr>
            <a:srgbClr val="FFC000"/>
          </p15:clr>
        </p15:guide>
        <p15:guide id="5" pos="3525">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721833"/>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926946553"/>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350">
          <p15:clr>
            <a:srgbClr val="FFC000"/>
          </p15:clr>
        </p15:guide>
        <p15:guide id="3" orient="horz" pos="1518">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721833"/>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721833"/>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2786856716"/>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529">
          <p15:clr>
            <a:srgbClr val="FFC000"/>
          </p15:clr>
        </p15:guide>
        <p15:guide id="3" orient="horz" pos="1347">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a:t>Click to edit Master subtitle style</a:t>
            </a:r>
            <a:endParaRPr lang="en-GB"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Tree>
    <p:extLst>
      <p:ext uri="{BB962C8B-B14F-4D97-AF65-F5344CB8AC3E}">
        <p14:creationId xmlns:p14="http://schemas.microsoft.com/office/powerpoint/2010/main" val="1830419540"/>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3839">
          <p15:clr>
            <a:srgbClr val="FFC000"/>
          </p15:clr>
        </p15:guide>
        <p15:guide id="4" orient="horz" pos="1495">
          <p15:clr>
            <a:srgbClr val="FFC000"/>
          </p15:clr>
        </p15:guide>
        <p15:guide id="5" pos="3525">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57267128"/>
      </p:ext>
    </p:extLst>
  </p:cSld>
  <p:clrMapOvr>
    <a:masterClrMapping/>
  </p:clrMapOvr>
  <p:extLst>
    <p:ext uri="{DCECCB84-F9BA-43D5-87BE-67443E8EF086}">
      <p15:sldGuideLst xmlns:p15="http://schemas.microsoft.com/office/powerpoint/2012/main">
        <p15:guide id="1" pos="5799">
          <p15:clr>
            <a:srgbClr val="FFC000"/>
          </p15:clr>
        </p15:guide>
        <p15:guide id="2" pos="5625">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721833"/>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2322392659"/>
      </p:ext>
    </p:extLst>
  </p:cSld>
  <p:clrMapOvr>
    <a:masterClrMapping/>
  </p:clrMapOvr>
  <p:extLst>
    <p:ext uri="{DCECCB84-F9BA-43D5-87BE-67443E8EF086}">
      <p15:sldGuideLst xmlns:p15="http://schemas.microsoft.com/office/powerpoint/2012/main">
        <p15:guide id="1" pos="1704">
          <p15:clr>
            <a:srgbClr val="FFC000"/>
          </p15:clr>
        </p15:guide>
        <p15:guide id="2" orient="horz" pos="1521">
          <p15:clr>
            <a:srgbClr val="FFC000"/>
          </p15:clr>
        </p15:guide>
        <p15:guide id="3" orient="horz" pos="1347">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721833"/>
          </a:solidFill>
        </p:spPr>
        <p:txBody>
          <a:bodyPr/>
          <a:lstStyle>
            <a:lvl1pPr>
              <a:defRPr sz="100" b="0">
                <a:solidFill>
                  <a:srgbClr val="3C3E00"/>
                </a:solidFill>
              </a:defRPr>
            </a:lvl1pPr>
          </a:lstStyle>
          <a:p>
            <a:r>
              <a:rPr lang="en-GB"/>
              <a:t>.</a:t>
            </a:r>
            <a:endParaRPr lang="en-GB" dirty="0"/>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721833"/>
          </a:solidFill>
        </p:spPr>
        <p:txBody>
          <a:bodyPr/>
          <a:lstStyle>
            <a:lvl1pPr>
              <a:defRPr sz="100" b="0">
                <a:solidFill>
                  <a:srgbClr val="3C3E00"/>
                </a:solidFill>
              </a:defRPr>
            </a:lvl1pPr>
          </a:lstStyle>
          <a:p>
            <a:r>
              <a:rPr lang="en-GB"/>
              <a:t>.</a:t>
            </a:r>
            <a:endParaRPr lang="en-GB" dirty="0"/>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endParaRPr lang="en-GB"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259234309"/>
      </p:ext>
    </p:extLst>
  </p:cSld>
  <p:clrMapOvr>
    <a:masterClrMapping/>
  </p:clrMapOvr>
  <p:extLst>
    <p:ext uri="{DCECCB84-F9BA-43D5-87BE-67443E8EF086}">
      <p15:sldGuideLst xmlns:p15="http://schemas.microsoft.com/office/powerpoint/2012/main">
        <p15:guide id="1" orient="horz" pos="1521">
          <p15:clr>
            <a:srgbClr val="FFC000"/>
          </p15:clr>
        </p15:guide>
        <p15:guide id="2" orient="horz" pos="1347">
          <p15:clr>
            <a:srgbClr val="FFC000"/>
          </p15:clr>
        </p15:guide>
        <p15:guide id="3" pos="1704">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721833"/>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GB"/>
              <a:t>.</a:t>
            </a:r>
            <a:endParaRPr lang="en-GB" dirty="0"/>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1479746506"/>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1696">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721833"/>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hasCustomPrompt="1"/>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GB"/>
              <a:t>a</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09038224"/>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7218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402751770"/>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62577824"/>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lvl1pPr>
              <a:defRPr>
                <a:solidFill>
                  <a:schemeClr val="bg1"/>
                </a:solidFill>
              </a:defRPr>
            </a:lvl1p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7218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429762958"/>
      </p:ext>
    </p:extLst>
  </p:cSld>
  <p:clrMapOvr>
    <a:masterClrMapping/>
  </p:clrMapOvr>
  <p:extLst>
    <p:ext uri="{DCECCB84-F9BA-43D5-87BE-67443E8EF086}">
      <p15:sldGuideLst xmlns:p15="http://schemas.microsoft.com/office/powerpoint/2012/main">
        <p15:guide id="1" orient="horz" pos="865">
          <p15:clr>
            <a:srgbClr val="FFC000"/>
          </p15:clr>
        </p15:guide>
        <p15:guide id="2" pos="4981">
          <p15:clr>
            <a:srgbClr val="FFC000"/>
          </p15:clr>
        </p15:guide>
        <p15:guide id="3" orient="horz" pos="3957">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721833"/>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75505807"/>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3393">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021060198"/>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585770026"/>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4771394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846126657"/>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721833"/>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594242389"/>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orient="horz" pos="865">
          <p15:clr>
            <a:srgbClr val="FFC000"/>
          </p15:clr>
        </p15:guide>
        <p15:guide id="4" orient="horz" pos="3957">
          <p15:clr>
            <a:srgbClr val="FFC000"/>
          </p15:clr>
        </p15:guide>
        <p15:guide id="5" pos="3393">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985097133"/>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endParaRPr lang="en-GB"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083605506"/>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8">
          <p15:clr>
            <a:srgbClr val="FFC000"/>
          </p15:clr>
        </p15:guide>
        <p15:guide id="3" pos="7500">
          <p15:clr>
            <a:srgbClr val="FFC000"/>
          </p15:clr>
        </p15:guide>
        <p15:guide id="4" pos="3912">
          <p15:clr>
            <a:srgbClr val="FFC000"/>
          </p15:clr>
        </p15:guide>
        <p15:guide id="5" pos="3767">
          <p15:clr>
            <a:srgbClr val="FFC000"/>
          </p15:clr>
        </p15:guide>
        <p15:guide id="6" pos="181">
          <p15:clr>
            <a:srgbClr val="FFC000"/>
          </p15:clr>
        </p15:guide>
        <p15:guide id="7" orient="horz" pos="4139">
          <p15:clr>
            <a:srgbClr val="FFC000"/>
          </p15:clr>
        </p15:guide>
        <p15:guide id="8" orient="horz" pos="169">
          <p15:clr>
            <a:srgbClr val="FFC00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endParaRPr lang="en-GB"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02656051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158">
          <p15:clr>
            <a:srgbClr val="FFC000"/>
          </p15:clr>
        </p15:guide>
        <p15:guide id="4" pos="5015">
          <p15:clr>
            <a:srgbClr val="FFC000"/>
          </p15:clr>
        </p15:guide>
        <p15:guide id="5" pos="2677">
          <p15:clr>
            <a:srgbClr val="FFC000"/>
          </p15:clr>
        </p15:guide>
        <p15:guide id="6" pos="250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90907181"/>
      </p:ext>
    </p:extLst>
  </p:cSld>
  <p:clrMapOvr>
    <a:masterClrMapping/>
  </p:clrMapOvr>
  <p:extLst>
    <p:ext uri="{DCECCB84-F9BA-43D5-87BE-67443E8EF086}">
      <p15:sldGuideLst xmlns:p15="http://schemas.microsoft.com/office/powerpoint/2012/main">
        <p15:guide id="1" pos="5799">
          <p15:clr>
            <a:srgbClr val="FFC000"/>
          </p15:clr>
        </p15:guide>
        <p15:guide id="2" pos="5617">
          <p15:clr>
            <a:srgbClr val="FFC000"/>
          </p15:clr>
        </p15:guide>
        <p15:guide id="3" pos="3912">
          <p15:clr>
            <a:srgbClr val="FFC000"/>
          </p15:clr>
        </p15:guide>
        <p15:guide id="4" pos="3754">
          <p15:clr>
            <a:srgbClr val="FFC000"/>
          </p15:clr>
        </p15:guide>
        <p15:guide id="5" pos="2055">
          <p15:clr>
            <a:srgbClr val="FFC000"/>
          </p15:clr>
        </p15:guide>
        <p15:guide id="6" pos="1873">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85022087"/>
      </p:ext>
    </p:extLst>
  </p:cSld>
  <p:clrMapOvr>
    <a:masterClrMapping/>
  </p:clrMapOvr>
  <p:extLst>
    <p:ext uri="{DCECCB84-F9BA-43D5-87BE-67443E8EF086}">
      <p15:sldGuideLst xmlns:p15="http://schemas.microsoft.com/office/powerpoint/2012/main">
        <p15:guide id="1" pos="5799">
          <p15:clr>
            <a:srgbClr val="FFC000"/>
          </p15:clr>
        </p15:guide>
        <p15:guide id="2" pos="5625">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3793619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65210661"/>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2781896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0549727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116440157"/>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448194342"/>
      </p:ext>
    </p:extLst>
  </p:cSld>
  <p:clrMapOvr>
    <a:masterClrMapping/>
  </p:clrMapOvr>
  <p:extLst>
    <p:ext uri="{DCECCB84-F9BA-43D5-87BE-67443E8EF086}">
      <p15:sldGuideLst xmlns:p15="http://schemas.microsoft.com/office/powerpoint/2012/main">
        <p15:guide id="1" pos="5808">
          <p15:clr>
            <a:srgbClr val="FFC000"/>
          </p15:clr>
        </p15:guide>
        <p15:guide id="2" pos="5627">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197678730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2216898689"/>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70826894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806">
          <p15:clr>
            <a:srgbClr val="FFC000"/>
          </p15:clr>
        </p15:guide>
        <p15:guide id="4" pos="5617">
          <p15:clr>
            <a:srgbClr val="FFC000"/>
          </p15:clr>
        </p15:guide>
        <p15:guide id="5" pos="3912">
          <p15:clr>
            <a:srgbClr val="FFC000"/>
          </p15:clr>
        </p15:guide>
        <p15:guide id="6" pos="3754">
          <p15:clr>
            <a:srgbClr val="FFC000"/>
          </p15:clr>
        </p15:guide>
        <p15:guide id="7" pos="2055">
          <p15:clr>
            <a:srgbClr val="FFC000"/>
          </p15:clr>
        </p15:guide>
        <p15:guide id="8" pos="1873">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FC6D0"/>
          </a:solidFill>
        </p:spPr>
        <p:txBody>
          <a:bodyPr wrap="square" lIns="144000" tIns="144000" rIns="144000" bIns="144000" anchor="ctr" anchorCtr="0">
            <a:noAutofit/>
          </a:bodyPr>
          <a:lstStyle>
            <a:lvl1pPr algn="ctr">
              <a:defRPr>
                <a:solidFill>
                  <a:srgbClr val="721833"/>
                </a:solidFill>
              </a:defRPr>
            </a:lvl1pPr>
            <a:lvl2pPr marL="0" indent="0" algn="ctr">
              <a:spcAft>
                <a:spcPts val="600"/>
              </a:spcAft>
              <a:buNone/>
              <a:defRPr sz="2000" b="1">
                <a:solidFill>
                  <a:srgbClr val="721833"/>
                </a:solidFill>
              </a:defRPr>
            </a:lvl2pPr>
            <a:lvl3pPr marL="0" indent="0" algn="ctr">
              <a:spcAft>
                <a:spcPts val="600"/>
              </a:spcAft>
              <a:buNone/>
              <a:defRPr sz="3000" b="0">
                <a:solidFill>
                  <a:srgbClr val="721833"/>
                </a:solidFill>
              </a:defRPr>
            </a:lvl3pPr>
            <a:lvl4pPr marL="0" indent="0" algn="ctr">
              <a:spcAft>
                <a:spcPts val="600"/>
              </a:spcAft>
              <a:buNone/>
              <a:defRPr sz="4800">
                <a:solidFill>
                  <a:srgbClr val="721833"/>
                </a:solidFill>
              </a:defRPr>
            </a:lvl4pPr>
            <a:lvl5pPr>
              <a:spcAft>
                <a:spcPts val="600"/>
              </a:spcAft>
              <a:defRPr sz="1400">
                <a:solidFill>
                  <a:srgbClr val="721833"/>
                </a:solidFill>
              </a:defRPr>
            </a:lvl5pPr>
            <a:lvl6pPr>
              <a:spcAft>
                <a:spcPts val="600"/>
              </a:spcAft>
              <a:defRPr sz="1400">
                <a:solidFill>
                  <a:srgbClr val="721833"/>
                </a:solidFill>
              </a:defRPr>
            </a:lvl6pPr>
            <a:lvl7pPr>
              <a:spcAft>
                <a:spcPts val="600"/>
              </a:spcAft>
              <a:defRPr sz="1400">
                <a:solidFill>
                  <a:srgbClr val="721833"/>
                </a:solidFill>
              </a:defRPr>
            </a:lvl7pPr>
            <a:lvl8pPr>
              <a:spcAft>
                <a:spcPts val="600"/>
              </a:spcAft>
              <a:defRPr sz="1400">
                <a:solidFill>
                  <a:srgbClr val="721833"/>
                </a:solidFill>
              </a:defRPr>
            </a:lvl8pPr>
            <a:lvl9pPr>
              <a:defRPr>
                <a:solidFill>
                  <a:srgbClr val="721833"/>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2935878850"/>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2497">
          <p15:clr>
            <a:srgbClr val="FFC000"/>
          </p15:clr>
        </p15:guide>
        <p15:guide id="3" orient="horz" pos="3958">
          <p15:clr>
            <a:srgbClr val="FFC000"/>
          </p15:clr>
        </p15:guide>
        <p15:guide id="4" orient="horz" pos="865">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721833"/>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2706174663"/>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3958">
          <p15:clr>
            <a:srgbClr val="FFC000"/>
          </p15:clr>
        </p15:guide>
        <p15:guide id="3" orient="horz" pos="865">
          <p15:clr>
            <a:srgbClr val="FFC000"/>
          </p15:clr>
        </p15:guide>
        <p15:guide id="4" orient="horz" pos="2497">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157569838"/>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pos="5585">
          <p15:clr>
            <a:srgbClr val="FFC000"/>
          </p15:clr>
        </p15:guide>
        <p15:guide id="4" orient="horz" pos="3958">
          <p15:clr>
            <a:srgbClr val="FFC000"/>
          </p15:clr>
        </p15:guide>
        <p15:guide id="5" orient="horz" pos="86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721833"/>
          </a:solid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799294163"/>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orient="horz" pos="3958">
          <p15:clr>
            <a:srgbClr val="FFC000"/>
          </p15:clr>
        </p15:guide>
        <p15:guide id="4" orient="horz" pos="865">
          <p15:clr>
            <a:srgbClr val="FFC000"/>
          </p15:clr>
        </p15:guide>
        <p15:guide id="5" pos="558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721833"/>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028169853"/>
      </p:ext>
    </p:extLst>
  </p:cSld>
  <p:clrMapOvr>
    <a:masterClrMapping/>
  </p:clrMapOvr>
  <p:extLst>
    <p:ext uri="{DCECCB84-F9BA-43D5-87BE-67443E8EF086}">
      <p15:sldGuideLst xmlns:p15="http://schemas.microsoft.com/office/powerpoint/2012/main">
        <p15:guide id="1" orient="horz" pos="3958">
          <p15:clr>
            <a:srgbClr val="FFC000"/>
          </p15:clr>
        </p15:guide>
        <p15:guide id="2" pos="3556">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02031648"/>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US" dirty="0"/>
          </a:p>
        </p:txBody>
      </p:sp>
    </p:spTree>
    <p:extLst>
      <p:ext uri="{BB962C8B-B14F-4D97-AF65-F5344CB8AC3E}">
        <p14:creationId xmlns:p14="http://schemas.microsoft.com/office/powerpoint/2010/main" val="83086666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519295307"/>
      </p:ext>
    </p:extLst>
  </p:cSld>
  <p:clrMapOvr>
    <a:masterClrMapping/>
  </p:clrMapOvr>
  <p:extLst>
    <p:ext uri="{DCECCB84-F9BA-43D5-87BE-67443E8EF086}">
      <p15:sldGuideLst xmlns:p15="http://schemas.microsoft.com/office/powerpoint/2012/main">
        <p15:guide id="1" pos="3395">
          <p15:clr>
            <a:srgbClr val="FFC000"/>
          </p15:clr>
        </p15:guide>
        <p15:guide id="2" pos="871">
          <p15:clr>
            <a:srgbClr val="FFC000"/>
          </p15:clr>
        </p15:guide>
        <p15:guide id="3" orient="horz" pos="2904">
          <p15:clr>
            <a:srgbClr val="FFC000"/>
          </p15:clr>
        </p15:guide>
        <p15:guide id="4" orient="horz" pos="1898">
          <p15:clr>
            <a:srgbClr val="FFC000"/>
          </p15:clr>
        </p15:guide>
        <p15:guide id="5" orient="horz" pos="906">
          <p15:clr>
            <a:srgbClr val="FFC000"/>
          </p15:clr>
        </p15:guide>
        <p15:guide id="6" orient="horz" pos="3958">
          <p15:clr>
            <a:srgbClr val="FFC000"/>
          </p15:clr>
        </p15:guide>
        <p15:guide id="7" orient="horz" pos="865">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49057378"/>
      </p:ext>
    </p:extLst>
  </p:cSld>
  <p:clrMapOvr>
    <a:masterClrMapping/>
  </p:clrMapOvr>
  <p:extLst>
    <p:ext uri="{DCECCB84-F9BA-43D5-87BE-67443E8EF086}">
      <p15:sldGuideLst xmlns:p15="http://schemas.microsoft.com/office/powerpoint/2012/main">
        <p15:guide id="1" orient="horz" pos="2904">
          <p15:clr>
            <a:srgbClr val="FFC000"/>
          </p15:clr>
        </p15:guide>
        <p15:guide id="2" orient="horz" pos="1898">
          <p15:clr>
            <a:srgbClr val="FFC000"/>
          </p15:clr>
        </p15:guide>
        <p15:guide id="3" orient="horz" pos="906">
          <p15:clr>
            <a:srgbClr val="FFC000"/>
          </p15:clr>
        </p15:guide>
        <p15:guide id="4" orient="horz" pos="3958">
          <p15:clr>
            <a:srgbClr val="FFC000"/>
          </p15:clr>
        </p15:guide>
        <p15:guide id="5" orient="horz" pos="865">
          <p15:clr>
            <a:srgbClr val="FFC000"/>
          </p15:clr>
        </p15:guide>
        <p15:guide id="6" pos="873">
          <p15:clr>
            <a:srgbClr val="FFC000"/>
          </p15:clr>
        </p15:guide>
        <p15:guide id="7" pos="3393">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72485"/>
            <a:ext cx="7669213"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721040219"/>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orient="horz" pos="2904">
          <p15:clr>
            <a:srgbClr val="FFC000"/>
          </p15:clr>
        </p15:guide>
        <p15:guide id="6" orient="horz" pos="1898">
          <p15:clr>
            <a:srgbClr val="FFC000"/>
          </p15:clr>
        </p15:guide>
        <p15:guide id="7" pos="871">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7668000" cy="612000"/>
          </a:xfrm>
        </p:spPr>
        <p:txBody>
          <a:bodyPr/>
          <a:lstStyle>
            <a:lvl1pPr>
              <a:defRPr>
                <a:solidFill>
                  <a:schemeClr val="bg1"/>
                </a:solidFill>
              </a:defRPr>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643415"/>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pos="871">
          <p15:clr>
            <a:srgbClr val="FFC000"/>
          </p15:clr>
        </p15:guide>
        <p15:guide id="6" orient="horz" pos="2904">
          <p15:clr>
            <a:srgbClr val="FFC000"/>
          </p15:clr>
        </p15:guide>
        <p15:guide id="7" orient="horz" pos="1898">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374079035"/>
      </p:ext>
    </p:extLst>
  </p:cSld>
  <p:clrMapOvr>
    <a:masterClrMapping/>
  </p:clrMapOvr>
  <p:extLst>
    <p:ext uri="{DCECCB84-F9BA-43D5-87BE-67443E8EF086}">
      <p15:sldGuideLst xmlns:p15="http://schemas.microsoft.com/office/powerpoint/2012/main">
        <p15:guide id="1" pos="1590">
          <p15:clr>
            <a:srgbClr val="FFC000"/>
          </p15:clr>
        </p15:guide>
        <p15:guide id="2" orient="horz" pos="3958">
          <p15:clr>
            <a:srgbClr val="FFC000"/>
          </p15:clr>
        </p15:guide>
        <p15:guide id="3" pos="3395">
          <p15:clr>
            <a:srgbClr val="FFC000"/>
          </p15:clr>
        </p15:guide>
        <p15:guide id="4" pos="933">
          <p15:clr>
            <a:srgbClr val="FFC000"/>
          </p15:clr>
        </p15:guide>
        <p15:guide id="5" orient="horz" pos="2904">
          <p15:clr>
            <a:srgbClr val="FFC000"/>
          </p15:clr>
        </p15:guide>
        <p15:guide id="6" orient="horz" pos="1898">
          <p15:clr>
            <a:srgbClr val="FFC000"/>
          </p15:clr>
        </p15:guide>
        <p15:guide id="7" orient="horz" pos="906">
          <p15:clr>
            <a:srgbClr val="FFC000"/>
          </p15:clr>
        </p15:guide>
        <p15:guide id="8" orient="horz" pos="865">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948342004"/>
      </p:ext>
    </p:extLst>
  </p:cSld>
  <p:clrMapOvr>
    <a:masterClrMapping/>
  </p:clrMapOvr>
  <p:extLst>
    <p:ext uri="{DCECCB84-F9BA-43D5-87BE-67443E8EF086}">
      <p15:sldGuideLst xmlns:p15="http://schemas.microsoft.com/office/powerpoint/2012/main">
        <p15:guide id="1" pos="1590">
          <p15:clr>
            <a:srgbClr val="FFC000"/>
          </p15:clr>
        </p15:guide>
        <p15:guide id="2" pos="933">
          <p15:clr>
            <a:srgbClr val="FFC000"/>
          </p15:clr>
        </p15:guide>
        <p15:guide id="3" pos="3395">
          <p15:clr>
            <a:srgbClr val="FFC000"/>
          </p15:clr>
        </p15:guide>
        <p15:guide id="4" orient="horz" pos="2904">
          <p15:clr>
            <a:srgbClr val="FFC000"/>
          </p15:clr>
        </p15:guide>
        <p15:guide id="5" orient="horz" pos="1898">
          <p15:clr>
            <a:srgbClr val="FFC000"/>
          </p15:clr>
        </p15:guide>
        <p15:guide id="6" orient="horz" pos="906">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11525"/>
            <a:ext cx="116172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2587205749"/>
      </p:ext>
    </p:extLst>
  </p:cSld>
  <p:clrMapOvr>
    <a:masterClrMapping/>
  </p:clrMapOvr>
  <p:extLst>
    <p:ext uri="{DCECCB84-F9BA-43D5-87BE-67443E8EF086}">
      <p15:sldGuideLst xmlns:p15="http://schemas.microsoft.com/office/powerpoint/2012/main">
        <p15:guide id="1" pos="3881">
          <p15:clr>
            <a:srgbClr val="FFC000"/>
          </p15:clr>
        </p15:guide>
        <p15:guide id="2" pos="5289">
          <p15:clr>
            <a:srgbClr val="FFC000"/>
          </p15:clr>
        </p15:guide>
        <p15:guide id="3" pos="4633">
          <p15:clr>
            <a:srgbClr val="FFC000"/>
          </p15:clr>
        </p15:guide>
        <p15:guide id="4" pos="7095">
          <p15:clr>
            <a:srgbClr val="FFC000"/>
          </p15:clr>
        </p15:guide>
        <p15:guide id="5" pos="1590">
          <p15:clr>
            <a:srgbClr val="FFC000"/>
          </p15:clr>
        </p15:guide>
        <p15:guide id="6" pos="933">
          <p15:clr>
            <a:srgbClr val="FFC000"/>
          </p15:clr>
        </p15:guide>
        <p15:guide id="7" pos="3395">
          <p15:clr>
            <a:srgbClr val="FFC000"/>
          </p15:clr>
        </p15:guide>
        <p15:guide id="8" orient="horz" pos="2904">
          <p15:clr>
            <a:srgbClr val="FFC000"/>
          </p15:clr>
        </p15:guide>
        <p15:guide id="9" orient="horz" pos="1898">
          <p15:clr>
            <a:srgbClr val="FFC000"/>
          </p15:clr>
        </p15:guide>
        <p15:guide id="10" orient="horz" pos="906">
          <p15:clr>
            <a:srgbClr val="FFC000"/>
          </p15:clr>
        </p15:guide>
        <p15:guide id="11" orient="horz" pos="865">
          <p15:clr>
            <a:srgbClr val="FFC000"/>
          </p15:clr>
        </p15:guide>
        <p15:guide id="12" orient="horz" pos="3958">
          <p15:clr>
            <a:srgbClr val="FFC000"/>
          </p15:clr>
        </p15:guide>
        <p15:guide id="13" pos="7500">
          <p15:clr>
            <a:srgbClr val="FFC000"/>
          </p15:clr>
        </p15:guide>
        <p15:guide id="14" pos="181">
          <p15:clr>
            <a:srgbClr val="FFC000"/>
          </p15:clr>
        </p15:guide>
        <p15:guide id="15" orient="horz" pos="4142">
          <p15:clr>
            <a:srgbClr val="FFC000"/>
          </p15:clr>
        </p15:guide>
        <p15:guide id="16" orient="horz" pos="169">
          <p15:clr>
            <a:srgbClr val="FFC00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endParaRPr lang="en-GB"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417966110"/>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66471529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285172719"/>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881586002"/>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72183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39546504"/>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1700933900"/>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311803010"/>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721833"/>
        </a:solidFill>
        <a:effectLst/>
      </p:bgPr>
    </p:bg>
    <p:spTree>
      <p:nvGrpSpPr>
        <p:cNvPr id="1" name=""/>
        <p:cNvGrpSpPr/>
        <p:nvPr/>
      </p:nvGrpSpPr>
      <p:grpSpPr>
        <a:xfrm>
          <a:off x="0" y="0"/>
          <a:ext cx="0" cy="0"/>
          <a:chOff x="0" y="0"/>
          <a:chExt cx="0" cy="0"/>
        </a:xfrm>
      </p:grpSpPr>
      <p:pic>
        <p:nvPicPr>
          <p:cNvPr id="3" name="Grafik 10">
            <a:extLst>
              <a:ext uri="{FF2B5EF4-FFF2-40B4-BE49-F238E27FC236}">
                <a16:creationId xmlns:a16="http://schemas.microsoft.com/office/drawing/2014/main" id="{B94BCFD9-747C-BA52-E311-DE236FD4E5F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358645" y="3200400"/>
            <a:ext cx="3474710" cy="457200"/>
          </a:xfrm>
          <a:prstGeom prst="rect">
            <a:avLst/>
          </a:prstGeom>
        </p:spPr>
      </p:pic>
    </p:spTree>
    <p:extLst>
      <p:ext uri="{BB962C8B-B14F-4D97-AF65-F5344CB8AC3E}">
        <p14:creationId xmlns:p14="http://schemas.microsoft.com/office/powerpoint/2010/main" val="231781359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1329986164"/>
      </p:ext>
    </p:extLst>
  </p:cSld>
  <p:clrMapOvr>
    <a:masterClrMapping/>
  </p:clrMapOvr>
  <p:extLst>
    <p:ext uri="{DCECCB84-F9BA-43D5-87BE-67443E8EF086}">
      <p15:sldGuideLst xmlns:p15="http://schemas.microsoft.com/office/powerpoint/2012/main">
        <p15:guide id="1" pos="5808">
          <p15:clr>
            <a:srgbClr val="FFC000"/>
          </p15:clr>
        </p15:guide>
        <p15:guide id="2" pos="5627">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US" dirty="0"/>
          </a:p>
        </p:txBody>
      </p:sp>
    </p:spTree>
    <p:extLst>
      <p:ext uri="{BB962C8B-B14F-4D97-AF65-F5344CB8AC3E}">
        <p14:creationId xmlns:p14="http://schemas.microsoft.com/office/powerpoint/2010/main" val="835426138"/>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US"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D7FEE39F-AF01-4C24-8DDC-CF1BA81F434E}" type="slidenum">
              <a:rPr lang="en-GB" smtClean="0"/>
              <a:t>‹Nº›</a:t>
            </a:fld>
            <a:endParaRPr lang="en-GB"/>
          </a:p>
        </p:txBody>
      </p:sp>
    </p:spTree>
    <p:extLst>
      <p:ext uri="{BB962C8B-B14F-4D97-AF65-F5344CB8AC3E}">
        <p14:creationId xmlns:p14="http://schemas.microsoft.com/office/powerpoint/2010/main" val="2761286638"/>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1276685275"/>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806">
          <p15:clr>
            <a:srgbClr val="FFC000"/>
          </p15:clr>
        </p15:guide>
        <p15:guide id="4" pos="5617">
          <p15:clr>
            <a:srgbClr val="FFC000"/>
          </p15:clr>
        </p15:guide>
        <p15:guide id="5" pos="3912">
          <p15:clr>
            <a:srgbClr val="FFC000"/>
          </p15:clr>
        </p15:guide>
        <p15:guide id="6" pos="3754">
          <p15:clr>
            <a:srgbClr val="FFC000"/>
          </p15:clr>
        </p15:guide>
        <p15:guide id="7" pos="2055">
          <p15:clr>
            <a:srgbClr val="FFC000"/>
          </p15:clr>
        </p15:guide>
        <p15:guide id="8" pos="1873">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D7FEE39F-AF01-4C24-8DDC-CF1BA81F434E}" type="slidenum">
              <a:rPr lang="en-GB" smtClean="0"/>
              <a:t>‹Nº›</a:t>
            </a:fld>
            <a:endParaRPr lang="en-GB"/>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US"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C1D5FF"/>
          </a:solidFill>
        </p:spPr>
        <p:txBody>
          <a:bodyPr wrap="square" lIns="144000" tIns="144000" rIns="144000" bIns="144000" anchor="ctr" anchorCtr="0">
            <a:noAutofit/>
          </a:bodyPr>
          <a:lstStyle>
            <a:lvl1pPr algn="ctr">
              <a:defRPr>
                <a:solidFill>
                  <a:srgbClr val="003C70"/>
                </a:solidFill>
              </a:defRPr>
            </a:lvl1pPr>
            <a:lvl2pPr marL="0" indent="0" algn="ctr">
              <a:spcAft>
                <a:spcPts val="600"/>
              </a:spcAft>
              <a:buNone/>
              <a:defRPr sz="2000" b="1">
                <a:solidFill>
                  <a:srgbClr val="003C70"/>
                </a:solidFill>
              </a:defRPr>
            </a:lvl2pPr>
            <a:lvl3pPr marL="0" indent="0" algn="ctr">
              <a:spcAft>
                <a:spcPts val="600"/>
              </a:spcAft>
              <a:buNone/>
              <a:defRPr sz="3000" b="0">
                <a:solidFill>
                  <a:srgbClr val="003C70"/>
                </a:solidFill>
              </a:defRPr>
            </a:lvl3pPr>
            <a:lvl4pPr marL="0" indent="0" algn="ctr">
              <a:spcAft>
                <a:spcPts val="600"/>
              </a:spcAft>
              <a:buNone/>
              <a:defRPr sz="4800">
                <a:solidFill>
                  <a:srgbClr val="003C70"/>
                </a:solidFill>
              </a:defRPr>
            </a:lvl4pPr>
            <a:lvl5pPr>
              <a:spcAft>
                <a:spcPts val="600"/>
              </a:spcAft>
              <a:defRPr sz="1400">
                <a:solidFill>
                  <a:srgbClr val="003C70"/>
                </a:solidFill>
              </a:defRPr>
            </a:lvl5pPr>
            <a:lvl6pPr>
              <a:spcAft>
                <a:spcPts val="600"/>
              </a:spcAft>
              <a:defRPr sz="1400">
                <a:solidFill>
                  <a:srgbClr val="003C70"/>
                </a:solidFill>
              </a:defRPr>
            </a:lvl6pPr>
            <a:lvl7pPr>
              <a:spcAft>
                <a:spcPts val="600"/>
              </a:spcAft>
              <a:defRPr sz="1400">
                <a:solidFill>
                  <a:srgbClr val="003C70"/>
                </a:solidFill>
              </a:defRPr>
            </a:lvl7pPr>
            <a:lvl8pPr>
              <a:spcAft>
                <a:spcPts val="600"/>
              </a:spcAft>
              <a:defRPr sz="1400">
                <a:solidFill>
                  <a:srgbClr val="003C70"/>
                </a:solidFill>
              </a:defRPr>
            </a:lvl8pPr>
            <a:lvl9pPr>
              <a:defRPr>
                <a:solidFill>
                  <a:srgbClr val="003C70"/>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1762515124"/>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2497">
          <p15:clr>
            <a:srgbClr val="FFC000"/>
          </p15:clr>
        </p15:guide>
        <p15:guide id="3" orient="horz" pos="3958">
          <p15:clr>
            <a:srgbClr val="FFC000"/>
          </p15:clr>
        </p15:guide>
        <p15:guide id="4" orient="horz" pos="865">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light with pictur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915651132"/>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350">
          <p15:clr>
            <a:srgbClr val="FFC000"/>
          </p15:clr>
        </p15:guide>
        <p15:guide id="3" orient="horz" pos="1518">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D7FEE39F-AF01-4C24-8DDC-CF1BA81F434E}" type="slidenum">
              <a:rPr lang="en-GB" smtClean="0"/>
              <a:t>‹Nº›</a:t>
            </a:fld>
            <a:endParaRPr lang="en-GB"/>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US"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003C7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210459954"/>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3958">
          <p15:clr>
            <a:srgbClr val="FFC000"/>
          </p15:clr>
        </p15:guide>
        <p15:guide id="3" orient="horz" pos="865">
          <p15:clr>
            <a:srgbClr val="FFC000"/>
          </p15:clr>
        </p15:guide>
        <p15:guide id="4" orient="horz" pos="2497">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D7FEE39F-AF01-4C24-8DDC-CF1BA81F434E}" type="slidenum">
              <a:rPr lang="en-GB" smtClean="0"/>
              <a:t>‹Nº›</a:t>
            </a:fld>
            <a:endParaRPr lang="en-GB"/>
          </a:p>
        </p:txBody>
      </p:sp>
      <p:pic>
        <p:nvPicPr>
          <p:cNvPr id="4" name="Grafik 10">
            <a:extLst>
              <a:ext uri="{FF2B5EF4-FFF2-40B4-BE49-F238E27FC236}">
                <a16:creationId xmlns:a16="http://schemas.microsoft.com/office/drawing/2014/main" id="{B581DD6D-83FF-0267-E76E-43ED8CE245F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659469822"/>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pos="5585">
          <p15:clr>
            <a:srgbClr val="FFC000"/>
          </p15:clr>
        </p15:guide>
        <p15:guide id="4" orient="horz" pos="3958">
          <p15:clr>
            <a:srgbClr val="FFC000"/>
          </p15:clr>
        </p15:guide>
        <p15:guide id="5" orient="horz" pos="86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US"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D7FEE39F-AF01-4C24-8DDC-CF1BA81F434E}" type="slidenum">
              <a:rPr lang="en-GB" smtClean="0"/>
              <a:t>‹Nº›</a:t>
            </a:fld>
            <a:endParaRPr lang="en-GB"/>
          </a:p>
        </p:txBody>
      </p:sp>
      <p:pic>
        <p:nvPicPr>
          <p:cNvPr id="4" name="Grafik 10">
            <a:extLst>
              <a:ext uri="{FF2B5EF4-FFF2-40B4-BE49-F238E27FC236}">
                <a16:creationId xmlns:a16="http://schemas.microsoft.com/office/drawing/2014/main" id="{CAC3FDC3-BFBF-F503-C15E-859DD8CB746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a:solidFill>
            <a:srgbClr val="003C70"/>
          </a:solid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969698509"/>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orient="horz" pos="3958">
          <p15:clr>
            <a:srgbClr val="FFC000"/>
          </p15:clr>
        </p15:guide>
        <p15:guide id="4" orient="horz" pos="865">
          <p15:clr>
            <a:srgbClr val="FFC000"/>
          </p15:clr>
        </p15:guide>
        <p15:guide id="5" pos="558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genda small light">
    <p:bg>
      <p:bgPr>
        <a:solidFill>
          <a:srgbClr val="003C70"/>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US"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pic>
        <p:nvPicPr>
          <p:cNvPr id="4" name="Grafik 10">
            <a:extLst>
              <a:ext uri="{FF2B5EF4-FFF2-40B4-BE49-F238E27FC236}">
                <a16:creationId xmlns:a16="http://schemas.microsoft.com/office/drawing/2014/main" id="{16741C30-F2D2-5A43-164C-4D6DA6BFA2F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3916323"/>
      </p:ext>
    </p:extLst>
  </p:cSld>
  <p:clrMapOvr>
    <a:masterClrMapping/>
  </p:clrMapOvr>
  <p:extLst>
    <p:ext uri="{DCECCB84-F9BA-43D5-87BE-67443E8EF086}">
      <p15:sldGuideLst xmlns:p15="http://schemas.microsoft.com/office/powerpoint/2012/main">
        <p15:guide id="1" orient="horz" pos="3958">
          <p15:clr>
            <a:srgbClr val="FFC000"/>
          </p15:clr>
        </p15:guide>
        <p15:guide id="2" pos="3556">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US" dirty="0"/>
          </a:p>
        </p:txBody>
      </p:sp>
    </p:spTree>
    <p:extLst>
      <p:ext uri="{BB962C8B-B14F-4D97-AF65-F5344CB8AC3E}">
        <p14:creationId xmlns:p14="http://schemas.microsoft.com/office/powerpoint/2010/main" val="207319958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590648113"/>
      </p:ext>
    </p:extLst>
  </p:cSld>
  <p:clrMapOvr>
    <a:masterClrMapping/>
  </p:clrMapOvr>
  <p:extLst>
    <p:ext uri="{DCECCB84-F9BA-43D5-87BE-67443E8EF086}">
      <p15:sldGuideLst xmlns:p15="http://schemas.microsoft.com/office/powerpoint/2012/main">
        <p15:guide id="1" pos="3395">
          <p15:clr>
            <a:srgbClr val="FFC000"/>
          </p15:clr>
        </p15:guide>
        <p15:guide id="2" pos="871">
          <p15:clr>
            <a:srgbClr val="FFC000"/>
          </p15:clr>
        </p15:guide>
        <p15:guide id="3" orient="horz" pos="2904">
          <p15:clr>
            <a:srgbClr val="FFC000"/>
          </p15:clr>
        </p15:guide>
        <p15:guide id="4" orient="horz" pos="1898">
          <p15:clr>
            <a:srgbClr val="FFC000"/>
          </p15:clr>
        </p15:guide>
        <p15:guide id="5" orient="horz" pos="906">
          <p15:clr>
            <a:srgbClr val="FFC000"/>
          </p15:clr>
        </p15:guide>
        <p15:guide id="6" orient="horz" pos="3958">
          <p15:clr>
            <a:srgbClr val="FFC000"/>
          </p15:clr>
        </p15:guide>
        <p15:guide id="7" orient="horz" pos="865">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639563292"/>
      </p:ext>
    </p:extLst>
  </p:cSld>
  <p:clrMapOvr>
    <a:masterClrMapping/>
  </p:clrMapOvr>
  <p:extLst>
    <p:ext uri="{DCECCB84-F9BA-43D5-87BE-67443E8EF086}">
      <p15:sldGuideLst xmlns:p15="http://schemas.microsoft.com/office/powerpoint/2012/main">
        <p15:guide id="1" orient="horz" pos="2904">
          <p15:clr>
            <a:srgbClr val="FFC000"/>
          </p15:clr>
        </p15:guide>
        <p15:guide id="2" orient="horz" pos="1898">
          <p15:clr>
            <a:srgbClr val="FFC000"/>
          </p15:clr>
        </p15:guide>
        <p15:guide id="3" orient="horz" pos="906">
          <p15:clr>
            <a:srgbClr val="FFC000"/>
          </p15:clr>
        </p15:guide>
        <p15:guide id="4" orient="horz" pos="3958">
          <p15:clr>
            <a:srgbClr val="FFC000"/>
          </p15:clr>
        </p15:guide>
        <p15:guide id="5" orient="horz" pos="865">
          <p15:clr>
            <a:srgbClr val="FFC000"/>
          </p15:clr>
        </p15:guide>
        <p15:guide id="6" pos="873">
          <p15:clr>
            <a:srgbClr val="FFC000"/>
          </p15:clr>
        </p15:guide>
        <p15:guide id="7" pos="3393">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72485"/>
            <a:ext cx="7669213"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505659768"/>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orient="horz" pos="2904">
          <p15:clr>
            <a:srgbClr val="FFC000"/>
          </p15:clr>
        </p15:guide>
        <p15:guide id="6" orient="horz" pos="1898">
          <p15:clr>
            <a:srgbClr val="FFC000"/>
          </p15:clr>
        </p15:guide>
        <p15:guide id="7" pos="871">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7" name="Graphic 4">
            <a:extLst>
              <a:ext uri="{FF2B5EF4-FFF2-40B4-BE49-F238E27FC236}">
                <a16:creationId xmlns:a16="http://schemas.microsoft.com/office/drawing/2014/main" id="{18856E0D-BA88-5530-3929-C472EBBF987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7668000" cy="612000"/>
          </a:xfrm>
        </p:spPr>
        <p:txBody>
          <a:bodyPr/>
          <a:lstStyle>
            <a:lvl1pPr>
              <a:defRPr>
                <a:solidFill>
                  <a:schemeClr val="bg1"/>
                </a:solidFill>
              </a:defRPr>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D7FEE39F-AF01-4C24-8DDC-CF1BA81F434E}" type="slidenum">
              <a:rPr lang="en-GB" smtClean="0"/>
              <a:t>‹Nº›</a:t>
            </a:fld>
            <a:endParaRPr lang="en-GB"/>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US"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177382"/>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pos="871">
          <p15:clr>
            <a:srgbClr val="FFC000"/>
          </p15:clr>
        </p15:guide>
        <p15:guide id="6" orient="horz" pos="2904">
          <p15:clr>
            <a:srgbClr val="FFC000"/>
          </p15:clr>
        </p15:guide>
        <p15:guide id="7" orient="horz" pos="1898">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912902650"/>
      </p:ext>
    </p:extLst>
  </p:cSld>
  <p:clrMapOvr>
    <a:masterClrMapping/>
  </p:clrMapOvr>
  <p:extLst>
    <p:ext uri="{DCECCB84-F9BA-43D5-87BE-67443E8EF086}">
      <p15:sldGuideLst xmlns:p15="http://schemas.microsoft.com/office/powerpoint/2012/main">
        <p15:guide id="1" pos="1590">
          <p15:clr>
            <a:srgbClr val="FFC000"/>
          </p15:clr>
        </p15:guide>
        <p15:guide id="2" orient="horz" pos="3958">
          <p15:clr>
            <a:srgbClr val="FFC000"/>
          </p15:clr>
        </p15:guide>
        <p15:guide id="3" pos="3395">
          <p15:clr>
            <a:srgbClr val="FFC000"/>
          </p15:clr>
        </p15:guide>
        <p15:guide id="4" pos="933">
          <p15:clr>
            <a:srgbClr val="FFC000"/>
          </p15:clr>
        </p15:guide>
        <p15:guide id="5" orient="horz" pos="2904">
          <p15:clr>
            <a:srgbClr val="FFC000"/>
          </p15:clr>
        </p15:guide>
        <p15:guide id="6" orient="horz" pos="1898">
          <p15:clr>
            <a:srgbClr val="FFC000"/>
          </p15:clr>
        </p15:guide>
        <p15:guide id="7" orient="horz" pos="906">
          <p15:clr>
            <a:srgbClr val="FFC000"/>
          </p15:clr>
        </p15:guide>
        <p15:guide id="8" orient="horz" pos="865">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D7FEE39F-AF01-4C24-8DDC-CF1BA81F434E}" type="slidenum">
              <a:rPr lang="en-GB" smtClean="0"/>
              <a:t>‹Nº›</a:t>
            </a:fld>
            <a:endParaRPr lang="en-GB"/>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003C70"/>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462954151"/>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529">
          <p15:clr>
            <a:srgbClr val="FFC000"/>
          </p15:clr>
        </p15:guide>
        <p15:guide id="3" orient="horz" pos="1347">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880446073"/>
      </p:ext>
    </p:extLst>
  </p:cSld>
  <p:clrMapOvr>
    <a:masterClrMapping/>
  </p:clrMapOvr>
  <p:extLst>
    <p:ext uri="{DCECCB84-F9BA-43D5-87BE-67443E8EF086}">
      <p15:sldGuideLst xmlns:p15="http://schemas.microsoft.com/office/powerpoint/2012/main">
        <p15:guide id="1" pos="1590">
          <p15:clr>
            <a:srgbClr val="FFC000"/>
          </p15:clr>
        </p15:guide>
        <p15:guide id="2" pos="933">
          <p15:clr>
            <a:srgbClr val="FFC000"/>
          </p15:clr>
        </p15:guide>
        <p15:guide id="3" pos="3395">
          <p15:clr>
            <a:srgbClr val="FFC000"/>
          </p15:clr>
        </p15:guide>
        <p15:guide id="4" orient="horz" pos="2904">
          <p15:clr>
            <a:srgbClr val="FFC000"/>
          </p15:clr>
        </p15:guide>
        <p15:guide id="5" orient="horz" pos="1898">
          <p15:clr>
            <a:srgbClr val="FFC000"/>
          </p15:clr>
        </p15:guide>
        <p15:guide id="6" orient="horz" pos="906">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US"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US" dirty="0"/>
          </a:p>
        </p:txBody>
      </p:sp>
      <p:sp>
        <p:nvSpPr>
          <p:cNvPr id="22" name="Graphic 4">
            <a:extLst>
              <a:ext uri="{FF2B5EF4-FFF2-40B4-BE49-F238E27FC236}">
                <a16:creationId xmlns:a16="http://schemas.microsoft.com/office/drawing/2014/main" id="{33822B56-2745-A858-3257-80FB40780FCC}"/>
              </a:ext>
            </a:extLst>
          </p:cNvPr>
          <p:cNvSpPr/>
          <p:nvPr/>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US"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US"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US"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72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D7FEE39F-AF01-4C24-8DDC-CF1BA81F434E}" type="slidenum">
              <a:rPr lang="en-GB" smtClean="0"/>
              <a:t>‹Nº›</a:t>
            </a:fld>
            <a:endParaRPr lang="en-GB"/>
          </a:p>
        </p:txBody>
      </p:sp>
      <p:sp>
        <p:nvSpPr>
          <p:cNvPr id="4" name="Rectangle 3">
            <a:extLst>
              <a:ext uri="{FF2B5EF4-FFF2-40B4-BE49-F238E27FC236}">
                <a16:creationId xmlns:a16="http://schemas.microsoft.com/office/drawing/2014/main" id="{5C697F8B-7D49-E806-0B98-F3B6AFD17709}"/>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US"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US"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US"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US"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US"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US"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US" dirty="0"/>
          </a:p>
        </p:txBody>
      </p:sp>
    </p:spTree>
    <p:extLst>
      <p:ext uri="{BB962C8B-B14F-4D97-AF65-F5344CB8AC3E}">
        <p14:creationId xmlns:p14="http://schemas.microsoft.com/office/powerpoint/2010/main" val="88220646"/>
      </p:ext>
    </p:extLst>
  </p:cSld>
  <p:clrMapOvr>
    <a:masterClrMapping/>
  </p:clrMapOvr>
  <p:extLst>
    <p:ext uri="{DCECCB84-F9BA-43D5-87BE-67443E8EF086}">
      <p15:sldGuideLst xmlns:p15="http://schemas.microsoft.com/office/powerpoint/2012/main">
        <p15:guide id="1" pos="3881">
          <p15:clr>
            <a:srgbClr val="FFC000"/>
          </p15:clr>
        </p15:guide>
        <p15:guide id="2" pos="5289">
          <p15:clr>
            <a:srgbClr val="FFC000"/>
          </p15:clr>
        </p15:guide>
        <p15:guide id="3" pos="4633">
          <p15:clr>
            <a:srgbClr val="FFC000"/>
          </p15:clr>
        </p15:guide>
        <p15:guide id="4" pos="7095">
          <p15:clr>
            <a:srgbClr val="FFC000"/>
          </p15:clr>
        </p15:guide>
        <p15:guide id="5" pos="1590">
          <p15:clr>
            <a:srgbClr val="FFC000"/>
          </p15:clr>
        </p15:guide>
        <p15:guide id="6" pos="933">
          <p15:clr>
            <a:srgbClr val="FFC000"/>
          </p15:clr>
        </p15:guide>
        <p15:guide id="7" pos="3395">
          <p15:clr>
            <a:srgbClr val="FFC000"/>
          </p15:clr>
        </p15:guide>
        <p15:guide id="8" orient="horz" pos="2904">
          <p15:clr>
            <a:srgbClr val="FFC000"/>
          </p15:clr>
        </p15:guide>
        <p15:guide id="9" orient="horz" pos="1898">
          <p15:clr>
            <a:srgbClr val="FFC000"/>
          </p15:clr>
        </p15:guide>
        <p15:guide id="10" orient="horz" pos="906">
          <p15:clr>
            <a:srgbClr val="FFC000"/>
          </p15:clr>
        </p15:guide>
        <p15:guide id="11" orient="horz" pos="865">
          <p15:clr>
            <a:srgbClr val="FFC000"/>
          </p15:clr>
        </p15:guide>
        <p15:guide id="12" orient="horz" pos="3958">
          <p15:clr>
            <a:srgbClr val="FFC000"/>
          </p15:clr>
        </p15:guide>
        <p15:guide id="13" pos="7500">
          <p15:clr>
            <a:srgbClr val="FFC000"/>
          </p15:clr>
        </p15:guide>
        <p15:guide id="14" pos="181">
          <p15:clr>
            <a:srgbClr val="FFC000"/>
          </p15:clr>
        </p15:guide>
        <p15:guide id="15" orient="horz" pos="4142">
          <p15:clr>
            <a:srgbClr val="FFC000"/>
          </p15:clr>
        </p15:guide>
        <p15:guide id="16" orient="horz" pos="169">
          <p15:clr>
            <a:srgbClr val="FFC00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22" name="Rectangle 21">
            <a:extLst>
              <a:ext uri="{FF2B5EF4-FFF2-40B4-BE49-F238E27FC236}">
                <a16:creationId xmlns:a16="http://schemas.microsoft.com/office/drawing/2014/main" id="{27975940-1288-FF90-7A5E-C4F6F23C3282}"/>
              </a:ext>
            </a:extLst>
          </p:cNvPr>
          <p:cNvSpPr/>
          <p:nvPr/>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endParaRPr lang="en-GB"/>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1689080959"/>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291581828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D7FEE39F-AF01-4C24-8DDC-CF1BA81F434E}" type="slidenum">
              <a:rPr lang="en-GB" smtClean="0"/>
              <a:t>‹Nº›</a:t>
            </a:fld>
            <a:endParaRPr lang="en-GB"/>
          </a:p>
        </p:txBody>
      </p:sp>
      <p:pic>
        <p:nvPicPr>
          <p:cNvPr id="4" name="Grafik 10">
            <a:extLst>
              <a:ext uri="{FF2B5EF4-FFF2-40B4-BE49-F238E27FC236}">
                <a16:creationId xmlns:a16="http://schemas.microsoft.com/office/drawing/2014/main" id="{1BAE6905-FD07-5B0D-CB7E-5FE54EA1EA6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82809446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D7FEE39F-AF01-4C24-8DDC-CF1BA81F434E}" type="slidenum">
              <a:rPr lang="en-GB" smtClean="0"/>
              <a:t>‹Nº›</a:t>
            </a:fld>
            <a:endParaRPr lang="en-GB"/>
          </a:p>
        </p:txBody>
      </p:sp>
      <p:pic>
        <p:nvPicPr>
          <p:cNvPr id="2" name="Grafik 10">
            <a:extLst>
              <a:ext uri="{FF2B5EF4-FFF2-40B4-BE49-F238E27FC236}">
                <a16:creationId xmlns:a16="http://schemas.microsoft.com/office/drawing/2014/main" id="{6971360E-DEC6-482A-0192-70EC9DBBF4D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23811627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D7FEE39F-AF01-4C24-8DDC-CF1BA81F434E}" type="slidenum">
              <a:rPr lang="en-GB" smtClean="0"/>
              <a:t>‹Nº›</a:t>
            </a:fld>
            <a:endParaRPr lang="en-GB"/>
          </a:p>
        </p:txBody>
      </p:sp>
    </p:spTree>
    <p:extLst>
      <p:ext uri="{BB962C8B-B14F-4D97-AF65-F5344CB8AC3E}">
        <p14:creationId xmlns:p14="http://schemas.microsoft.com/office/powerpoint/2010/main" val="1618759122"/>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rgbClr val="003C70"/>
        </a:solidFill>
        <a:effectLst/>
      </p:bgPr>
    </p:bg>
    <p:spTree>
      <p:nvGrpSpPr>
        <p:cNvPr id="1" name=""/>
        <p:cNvGrpSpPr/>
        <p:nvPr/>
      </p:nvGrpSpPr>
      <p:grpSpPr>
        <a:xfrm>
          <a:off x="0" y="0"/>
          <a:ext cx="0" cy="0"/>
          <a:chOff x="0" y="0"/>
          <a:chExt cx="0" cy="0"/>
        </a:xfrm>
      </p:grpSpPr>
      <p:pic>
        <p:nvPicPr>
          <p:cNvPr id="3" name="Grafik 10">
            <a:extLst>
              <a:ext uri="{FF2B5EF4-FFF2-40B4-BE49-F238E27FC236}">
                <a16:creationId xmlns:a16="http://schemas.microsoft.com/office/drawing/2014/main" id="{B94BCFD9-747C-BA52-E311-DE236FD4E5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358645" y="3200400"/>
            <a:ext cx="3474710" cy="457200"/>
          </a:xfrm>
          <a:prstGeom prst="rect">
            <a:avLst/>
          </a:prstGeom>
        </p:spPr>
      </p:pic>
    </p:spTree>
    <p:extLst>
      <p:ext uri="{BB962C8B-B14F-4D97-AF65-F5344CB8AC3E}">
        <p14:creationId xmlns:p14="http://schemas.microsoft.com/office/powerpoint/2010/main" val="294203918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4" name="Content">
            <a:extLst>
              <a:ext uri="{FF2B5EF4-FFF2-40B4-BE49-F238E27FC236}">
                <a16:creationId xmlns:a16="http://schemas.microsoft.com/office/drawing/2014/main" id="{D59064B4-0B5E-401B-9504-2B58CDCA5030}"/>
              </a:ext>
            </a:extLst>
          </p:cNvPr>
          <p:cNvSpPr>
            <a:spLocks noGrp="1"/>
          </p:cNvSpPr>
          <p:nvPr>
            <p:ph sz="quarter" idx="12" hasCustomPrompt="1"/>
          </p:nvPr>
        </p:nvSpPr>
        <p:spPr bwMode="gray">
          <a:xfrm>
            <a:off x="338050" y="1414136"/>
            <a:ext cx="11515901"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dirty="0"/>
              <a:t>Click to add text; to insert tables use the Element Wizard</a:t>
            </a:r>
            <a:endParaRPr lang="en-GB" dirty="0"/>
          </a:p>
        </p:txBody>
      </p:sp>
      <p:sp>
        <p:nvSpPr>
          <p:cNvPr id="3" name="Title">
            <a:extLst>
              <a:ext uri="{FF2B5EF4-FFF2-40B4-BE49-F238E27FC236}">
                <a16:creationId xmlns:a16="http://schemas.microsoft.com/office/drawing/2014/main" id="{78D8F4FE-3E00-42E8-B4B4-118874EE7F8B}"/>
              </a:ext>
            </a:extLst>
          </p:cNvPr>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1248062223"/>
      </p:ext>
    </p:extLst>
  </p:cSld>
  <p:clrMapOvr>
    <a:masterClrMapping/>
  </p:clrMapOvr>
  <p:transition spd="slow"/>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GB"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noProof="0"/>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noProof="0"/>
              <a:t>Click to edit Master subtitle style</a:t>
            </a:r>
            <a:endParaRPr lang="en-GB" noProof="0"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Tree>
    <p:extLst>
      <p:ext uri="{BB962C8B-B14F-4D97-AF65-F5344CB8AC3E}">
        <p14:creationId xmlns:p14="http://schemas.microsoft.com/office/powerpoint/2010/main" val="1739416690"/>
      </p:ext>
    </p:extLst>
  </p:cSld>
  <p:clrMapOvr>
    <a:masterClrMapping/>
  </p:clrMapOvr>
  <p:extLst>
    <p:ext uri="{DCECCB84-F9BA-43D5-87BE-67443E8EF086}">
      <p15:sldGuideLst xmlns:p15="http://schemas.microsoft.com/office/powerpoint/2012/main">
        <p15:guide id="1" orient="horz" pos="1496">
          <p15:clr>
            <a:srgbClr val="FFC000"/>
          </p15:clr>
        </p15:guide>
        <p15:guide id="2" orient="horz" pos="3958">
          <p15:clr>
            <a:srgbClr val="FFC000"/>
          </p15:clr>
        </p15:guide>
        <p15:guide id="3" orient="horz" pos="865">
          <p15:clr>
            <a:srgbClr val="FFC000"/>
          </p15:clr>
        </p15:guide>
        <p15:guide id="4" pos="7497">
          <p15:clr>
            <a:srgbClr val="FFC000"/>
          </p15:clr>
        </p15:guide>
        <p15:guide id="5" pos="178">
          <p15:clr>
            <a:srgbClr val="FFC000"/>
          </p15:clr>
        </p15:guide>
        <p15:guide id="6" orient="horz" pos="4142">
          <p15:clr>
            <a:srgbClr val="FFC000"/>
          </p15:clr>
        </p15:guide>
        <p15:guide id="7" orient="horz" pos="173">
          <p15:clr>
            <a:srgbClr val="FFC00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light">
    <p:bg>
      <p:bgPr>
        <a:solidFill>
          <a:srgbClr val="003C70"/>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D7FEE39F-AF01-4C24-8DDC-CF1BA81F434E}" type="slidenum">
              <a:rPr lang="en-GB" smtClean="0"/>
              <a:t>‹Nº›</a:t>
            </a:fld>
            <a:endParaRPr lang="en-GB"/>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2608836847"/>
      </p:ext>
    </p:extLst>
  </p:cSld>
  <p:clrMapOvr>
    <a:masterClrMapping/>
  </p:clrMapOvr>
  <p:extLst>
    <p:ext uri="{DCECCB84-F9BA-43D5-87BE-67443E8EF086}">
      <p15:sldGuideLst xmlns:p15="http://schemas.microsoft.com/office/powerpoint/2012/main">
        <p15:guide id="1" pos="1704">
          <p15:clr>
            <a:srgbClr val="FFC000"/>
          </p15:clr>
        </p15:guide>
        <p15:guide id="2" orient="horz" pos="1521">
          <p15:clr>
            <a:srgbClr val="FFC000"/>
          </p15:clr>
        </p15:guide>
        <p15:guide id="3" orient="horz" pos="1347">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GB"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noProof="0"/>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noProof="0"/>
              <a:t>Click to edit Master subtitle style</a:t>
            </a:r>
            <a:endParaRPr lang="en-GB" noProof="0"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Tree>
    <p:extLst>
      <p:ext uri="{BB962C8B-B14F-4D97-AF65-F5344CB8AC3E}">
        <p14:creationId xmlns:p14="http://schemas.microsoft.com/office/powerpoint/2010/main" val="309580162"/>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3839">
          <p15:clr>
            <a:srgbClr val="FFC000"/>
          </p15:clr>
        </p15:guide>
        <p15:guide id="4" orient="horz" pos="1495">
          <p15:clr>
            <a:srgbClr val="FFC000"/>
          </p15:clr>
        </p15:guide>
        <p15:guide id="5" pos="3525">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with picture">
    <p:bg>
      <p:bgPr>
        <a:solidFill>
          <a:srgbClr val="3C3E0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0DDA66E8-9E80-6F8E-3097-58A7888CC3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noProof="0"/>
              <a:t>Click icon to add picture</a:t>
            </a:r>
            <a:endParaRPr lang="en-GB" noProof="0"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noProof="0"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tx2"/>
                </a:solidFill>
              </a:defRPr>
            </a:lvl1pPr>
          </a:lstStyle>
          <a:p>
            <a:r>
              <a:rPr lang="en-US" noProof="0"/>
              <a:t>Click to edit Master title style</a:t>
            </a:r>
            <a:endParaRPr lang="en-GB" noProof="0"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noProof="0"/>
              <a:t>00</a:t>
            </a:r>
            <a:endParaRPr lang="en-GB" noProof="0"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noProof="0"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noProof="0"/>
              <a:t>.</a:t>
            </a:r>
            <a:endParaRPr lang="en-GB" noProof="0" dirty="0"/>
          </a:p>
        </p:txBody>
      </p:sp>
      <p:sp>
        <p:nvSpPr>
          <p:cNvPr id="11" name="Online Image Placeholder 9">
            <a:extLst>
              <a:ext uri="{FF2B5EF4-FFF2-40B4-BE49-F238E27FC236}">
                <a16:creationId xmlns:a16="http://schemas.microsoft.com/office/drawing/2014/main" id="{A7429042-57AB-06D1-342B-2011144DE143}"/>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noProof="0"/>
              <a:t>.</a:t>
            </a:r>
            <a:endParaRPr lang="en-GB" noProof="0" dirty="0"/>
          </a:p>
        </p:txBody>
      </p:sp>
    </p:spTree>
    <p:extLst>
      <p:ext uri="{BB962C8B-B14F-4D97-AF65-F5344CB8AC3E}">
        <p14:creationId xmlns:p14="http://schemas.microsoft.com/office/powerpoint/2010/main" val="1543264411"/>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350">
          <p15:clr>
            <a:srgbClr val="FFC000"/>
          </p15:clr>
        </p15:guide>
        <p15:guide id="3" orient="horz" pos="1518">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dark with pictur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p>
            <a:r>
              <a:rPr lang="en-US"/>
              <a:t>Click icon to add picture</a:t>
            </a:r>
            <a:endParaRPr lang="en-GB"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2418168"/>
            <a:ext cx="2401200" cy="972000"/>
          </a:xfrm>
        </p:spPr>
        <p:txBody>
          <a:bodyPr anchor="t" anchorCtr="0"/>
          <a:lstStyle>
            <a:lvl1pPr>
              <a:defRPr sz="2000">
                <a:solidFill>
                  <a:schemeClr val="bg1"/>
                </a:solidFill>
              </a:defRPr>
            </a:lvl1pPr>
          </a:lstStyle>
          <a:p>
            <a:r>
              <a:rPr lang="en-US"/>
              <a:t>Click to edit Master title style</a:t>
            </a:r>
            <a:endParaRPr lang="en-GB" dirty="0"/>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7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7" name="Footer Placeholder 6">
            <a:extLst>
              <a:ext uri="{FF2B5EF4-FFF2-40B4-BE49-F238E27FC236}">
                <a16:creationId xmlns:a16="http://schemas.microsoft.com/office/drawing/2014/main" id="{B3B064D5-18ED-8929-D911-00D06ABEE77D}"/>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E275322-EFFD-0088-ECD5-FCBA78490454}"/>
              </a:ext>
            </a:extLst>
          </p:cNvPr>
          <p:cNvSpPr>
            <a:spLocks noGrp="1"/>
          </p:cNvSpPr>
          <p:nvPr>
            <p:ph type="sldNum" sz="quarter" idx="19"/>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10" name="Online Image Placeholder 9">
            <a:extLst>
              <a:ext uri="{FF2B5EF4-FFF2-40B4-BE49-F238E27FC236}">
                <a16:creationId xmlns:a16="http://schemas.microsoft.com/office/drawing/2014/main" id="{B9B72513-928F-1512-0B21-FDD4422728AA}"/>
              </a:ext>
            </a:extLst>
          </p:cNvPr>
          <p:cNvSpPr>
            <a:spLocks noGrp="1" noRot="1" noChangeAspect="1" noMove="1" noResize="1" noEditPoints="1" noAdjustHandles="1" noChangeArrowheads="1" noChangeShapeType="1"/>
          </p:cNvSpPr>
          <p:nvPr>
            <p:ph type="clipArt" sz="quarter" idx="20" hasCustomPrompt="1"/>
          </p:nvPr>
        </p:nvSpPr>
        <p:spPr>
          <a:xfrm>
            <a:off x="288000" y="2228400"/>
            <a:ext cx="3679200" cy="25400"/>
          </a:xfrm>
          <a:solidFill>
            <a:srgbClr val="3C3E00"/>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CE893564-5FFC-47CD-6D92-4F47BAD9A057}"/>
              </a:ext>
            </a:extLst>
          </p:cNvPr>
          <p:cNvSpPr>
            <a:spLocks noGrp="1" noRot="1" noMove="1" noResize="1" noEditPoints="1" noAdjustHandles="1" noChangeArrowheads="1" noChangeShapeType="1"/>
          </p:cNvSpPr>
          <p:nvPr>
            <p:ph type="clipArt" sz="quarter" idx="21" hasCustomPrompt="1"/>
          </p:nvPr>
        </p:nvSpPr>
        <p:spPr>
          <a:xfrm>
            <a:off x="10751366" y="2228400"/>
            <a:ext cx="1440634" cy="25200"/>
          </a:xfrm>
          <a:solidFill>
            <a:srgbClr val="3C3E00"/>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3750007072"/>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1529">
          <p15:clr>
            <a:srgbClr val="FFC000"/>
          </p15:clr>
        </p15:guide>
        <p15:guide id="3" orient="horz" pos="1347">
          <p15:clr>
            <a:srgbClr val="FFC000"/>
          </p15:clr>
        </p15:guide>
        <p15:guide id="4" pos="170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bg>
      <p:bgPr>
        <a:solidFill>
          <a:srgbClr val="3C3E00"/>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bg1"/>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b="1">
                <a:solidFill>
                  <a:schemeClr val="bg1"/>
                </a:solidFill>
              </a:defRPr>
            </a:lvl1pPr>
            <a:lvl2pPr marL="0" indent="0">
              <a:lnSpc>
                <a:spcPct val="100000"/>
              </a:lnSpc>
              <a:spcAft>
                <a:spcPts val="0"/>
              </a:spcAft>
              <a:buNone/>
              <a:defRPr sz="1400" b="1">
                <a:solidFill>
                  <a:schemeClr val="bg1"/>
                </a:solidFill>
              </a:defRPr>
            </a:lvl2pPr>
            <a:lvl3pPr marL="0" indent="0">
              <a:lnSpc>
                <a:spcPct val="100000"/>
              </a:lnSpc>
              <a:spcAft>
                <a:spcPts val="0"/>
              </a:spcAft>
              <a:buNone/>
              <a:defRPr sz="1400" b="1">
                <a:solidFill>
                  <a:schemeClr val="bg1"/>
                </a:solidFill>
              </a:defRPr>
            </a:lvl3pPr>
            <a:lvl4pPr marL="0" indent="0">
              <a:lnSpc>
                <a:spcPct val="100000"/>
              </a:lnSpc>
              <a:spcAft>
                <a:spcPts val="0"/>
              </a:spcAft>
              <a:buNone/>
              <a:defRPr sz="1400" b="1">
                <a:solidFill>
                  <a:schemeClr val="bg1"/>
                </a:solidFill>
              </a:defRPr>
            </a:lvl4pPr>
            <a:lvl5pPr marL="0" indent="0">
              <a:lnSpc>
                <a:spcPct val="100000"/>
              </a:lnSpc>
              <a:spcAft>
                <a:spcPts val="0"/>
              </a:spcAft>
              <a:buNone/>
              <a:defRPr sz="1400" b="1">
                <a:solidFill>
                  <a:schemeClr val="bg1"/>
                </a:solidFill>
              </a:defRPr>
            </a:lvl5pPr>
            <a:lvl6pPr marL="0" indent="0">
              <a:lnSpc>
                <a:spcPct val="100000"/>
              </a:lnSpc>
              <a:spcAft>
                <a:spcPts val="0"/>
              </a:spcAft>
              <a:buNone/>
              <a:defRPr sz="1400" b="1">
                <a:solidFill>
                  <a:schemeClr val="bg1"/>
                </a:solidFill>
              </a:defRPr>
            </a:lvl6pPr>
            <a:lvl7pPr marL="0" indent="0">
              <a:lnSpc>
                <a:spcPct val="100000"/>
              </a:lnSpc>
              <a:spcAft>
                <a:spcPts val="0"/>
              </a:spcAft>
              <a:buNone/>
              <a:defRPr sz="1400" b="1">
                <a:solidFill>
                  <a:schemeClr val="bg1"/>
                </a:solidFill>
              </a:defRPr>
            </a:lvl7pPr>
            <a:lvl8pPr marL="0" indent="0">
              <a:lnSpc>
                <a:spcPct val="100000"/>
              </a:lnSpc>
              <a:spcAft>
                <a:spcPts val="0"/>
              </a:spcAft>
              <a:buNone/>
              <a:defRPr sz="1400" b="1">
                <a:solidFill>
                  <a:schemeClr val="bg1"/>
                </a:solidFill>
              </a:defRPr>
            </a:lvl8pPr>
            <a:lvl9pPr marL="0" indent="0">
              <a:lnSpc>
                <a:spcPct val="100000"/>
              </a:lnSpc>
              <a:buNone/>
              <a:defRPr sz="1400" b="1">
                <a:solidFill>
                  <a:schemeClr val="bg1"/>
                </a:solidFill>
              </a:defRPr>
            </a:lvl9pPr>
          </a:lstStyle>
          <a:p>
            <a:pPr lvl="0"/>
            <a:r>
              <a:rPr lang="en-US"/>
              <a:t>Click to edit Master text styles</a:t>
            </a:r>
          </a:p>
        </p:txBody>
      </p:sp>
      <p:pic>
        <p:nvPicPr>
          <p:cNvPr id="17" name="Grafik 10">
            <a:extLst>
              <a:ext uri="{FF2B5EF4-FFF2-40B4-BE49-F238E27FC236}">
                <a16:creationId xmlns:a16="http://schemas.microsoft.com/office/drawing/2014/main" id="{BA20CB27-0813-0E71-A6A9-F50F88640E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accent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Footer Placeholder 4">
            <a:extLst>
              <a:ext uri="{FF2B5EF4-FFF2-40B4-BE49-F238E27FC236}">
                <a16:creationId xmlns:a16="http://schemas.microsoft.com/office/drawing/2014/main" id="{1D5E4A31-4072-9922-D0F5-241C14B1A27C}"/>
              </a:ext>
            </a:extLst>
          </p:cNvPr>
          <p:cNvSpPr>
            <a:spLocks noGrp="1"/>
          </p:cNvSpPr>
          <p:nvPr>
            <p:ph type="ftr" sz="quarter" idx="17"/>
          </p:nvPr>
        </p:nvSpPr>
        <p:spPr>
          <a:xfrm>
            <a:off x="3265200" y="6450420"/>
            <a:ext cx="6656400" cy="144000"/>
          </a:xfrm>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4451D7E3-B707-E68D-52EF-D4243EB0ECED}"/>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
        <p:nvSpPr>
          <p:cNvPr id="8" name="Online Image Placeholder 9">
            <a:extLst>
              <a:ext uri="{FF2B5EF4-FFF2-40B4-BE49-F238E27FC236}">
                <a16:creationId xmlns:a16="http://schemas.microsoft.com/office/drawing/2014/main" id="{A2F85F0E-6716-6BB7-327E-848037ACEF74}"/>
              </a:ext>
            </a:extLst>
          </p:cNvPr>
          <p:cNvSpPr>
            <a:spLocks noGrp="1" noChangeAspect="1"/>
          </p:cNvSpPr>
          <p:nvPr>
            <p:ph type="clipArt" sz="quarter" idx="20" hasCustomPrompt="1"/>
          </p:nvPr>
        </p:nvSpPr>
        <p:spPr>
          <a:xfrm>
            <a:off x="288000" y="22284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9" name="Online Image Placeholder 9">
            <a:extLst>
              <a:ext uri="{FF2B5EF4-FFF2-40B4-BE49-F238E27FC236}">
                <a16:creationId xmlns:a16="http://schemas.microsoft.com/office/drawing/2014/main" id="{2C4BC777-9D4E-C7CA-3A3A-715BA4AE1BB3}"/>
              </a:ext>
            </a:extLst>
          </p:cNvPr>
          <p:cNvSpPr>
            <a:spLocks noGrp="1"/>
          </p:cNvSpPr>
          <p:nvPr>
            <p:ph type="clipArt" sz="quarter" idx="21" hasCustomPrompt="1"/>
          </p:nvPr>
        </p:nvSpPr>
        <p:spPr>
          <a:xfrm>
            <a:off x="10751366" y="2228400"/>
            <a:ext cx="1440634" cy="25200"/>
          </a:xfrm>
          <a:solidFill>
            <a:schemeClr val="accent1"/>
          </a:solidFill>
        </p:spPr>
        <p:txBody>
          <a:bodyPr/>
          <a:lstStyle>
            <a:lvl1pPr>
              <a:defRPr sz="100" b="0">
                <a:solidFill>
                  <a:srgbClr val="3C3E00"/>
                </a:solidFill>
              </a:defRPr>
            </a:lvl1pPr>
          </a:lstStyle>
          <a:p>
            <a:r>
              <a:rPr lang="en-GB"/>
              <a:t>.</a:t>
            </a:r>
            <a:endParaRPr lang="en-GB" dirty="0"/>
          </a:p>
        </p:txBody>
      </p:sp>
    </p:spTree>
    <p:extLst>
      <p:ext uri="{BB962C8B-B14F-4D97-AF65-F5344CB8AC3E}">
        <p14:creationId xmlns:p14="http://schemas.microsoft.com/office/powerpoint/2010/main" val="1039974823"/>
      </p:ext>
    </p:extLst>
  </p:cSld>
  <p:clrMapOvr>
    <a:masterClrMapping/>
  </p:clrMapOvr>
  <p:extLst>
    <p:ext uri="{DCECCB84-F9BA-43D5-87BE-67443E8EF086}">
      <p15:sldGuideLst xmlns:p15="http://schemas.microsoft.com/office/powerpoint/2012/main">
        <p15:guide id="1" pos="1704">
          <p15:clr>
            <a:srgbClr val="FFC000"/>
          </p15:clr>
        </p15:guide>
        <p15:guide id="2" orient="horz" pos="1521">
          <p15:clr>
            <a:srgbClr val="FFC000"/>
          </p15:clr>
        </p15:guide>
        <p15:guide id="3" orient="horz" pos="1347">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3C3E00"/>
          </a:solidFill>
        </p:spPr>
        <p:txBody>
          <a:bodyPr/>
          <a:lstStyle>
            <a:lvl1pPr>
              <a:defRPr sz="100" b="0">
                <a:solidFill>
                  <a:srgbClr val="3C3E00"/>
                </a:solidFill>
              </a:defRPr>
            </a:lvl1pPr>
          </a:lstStyle>
          <a:p>
            <a:r>
              <a:rPr lang="en-GB"/>
              <a:t>.</a:t>
            </a:r>
            <a:endParaRPr lang="en-GB" dirty="0"/>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3C3E00"/>
          </a:solidFill>
        </p:spPr>
        <p:txBody>
          <a:bodyPr/>
          <a:lstStyle>
            <a:lvl1pPr>
              <a:defRPr sz="100" b="0">
                <a:solidFill>
                  <a:srgbClr val="3C3E00"/>
                </a:solidFill>
              </a:defRPr>
            </a:lvl1pPr>
          </a:lstStyle>
          <a:p>
            <a:r>
              <a:rPr lang="en-GB"/>
              <a:t>.</a:t>
            </a:r>
            <a:endParaRPr lang="en-GB" dirty="0"/>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endParaRPr lang="en-GB" noProof="0" dirty="0"/>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02197695"/>
      </p:ext>
    </p:extLst>
  </p:cSld>
  <p:clrMapOvr>
    <a:masterClrMapping/>
  </p:clrMapOvr>
  <p:extLst>
    <p:ext uri="{DCECCB84-F9BA-43D5-87BE-67443E8EF086}">
      <p15:sldGuideLst xmlns:p15="http://schemas.microsoft.com/office/powerpoint/2012/main">
        <p15:guide id="1" orient="horz" pos="1521">
          <p15:clr>
            <a:srgbClr val="FFC000"/>
          </p15:clr>
        </p15:guide>
        <p15:guide id="2" orient="horz" pos="1347">
          <p15:clr>
            <a:srgbClr val="FFC000"/>
          </p15:clr>
        </p15:guide>
        <p15:guide id="3" pos="1704">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ext, Picture large">
    <p:bg>
      <p:bgPr>
        <a:solidFill>
          <a:srgbClr val="3C3E0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16" name="Graphic 6">
            <a:extLst>
              <a:ext uri="{FF2B5EF4-FFF2-40B4-BE49-F238E27FC236}">
                <a16:creationId xmlns:a16="http://schemas.microsoft.com/office/drawing/2014/main" id="{60519756-9CDE-8EE4-E39E-1EBAFA638834}"/>
              </a:ext>
            </a:extLst>
          </p:cNvPr>
          <p:cNvSpPr/>
          <p:nvPr userDrawn="1"/>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GB"/>
              <a:t>.</a:t>
            </a:r>
            <a:endParaRPr lang="en-GB" dirty="0"/>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381271636"/>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1696">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Highlight light">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BED2D7BF-9930-126A-5935-B520619010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5324798"/>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rgbClr val="3C3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3" name="Grafik 10">
            <a:extLst>
              <a:ext uri="{FF2B5EF4-FFF2-40B4-BE49-F238E27FC236}">
                <a16:creationId xmlns:a16="http://schemas.microsoft.com/office/drawing/2014/main" id="{FC9AD835-EDF7-941C-5AC5-D89F9EE7FA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301375612"/>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light, Line light">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16" name="Rectangle 15">
            <a:extLst>
              <a:ext uri="{FF2B5EF4-FFF2-40B4-BE49-F238E27FC236}">
                <a16:creationId xmlns:a16="http://schemas.microsoft.com/office/drawing/2014/main" id="{C89B7536-813E-8070-C2E4-DF1A0FBF5358}"/>
              </a:ext>
            </a:extLst>
          </p:cNvPr>
          <p:cNvSpPr/>
          <p:nvPr userDrawn="1"/>
        </p:nvSpPr>
        <p:spPr>
          <a:xfrm>
            <a:off x="288000" y="1036800"/>
            <a:ext cx="76176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612010354"/>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dark, Line dark">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lvl1pPr>
              <a:defRPr>
                <a:solidFill>
                  <a:schemeClr val="bg1"/>
                </a:solidFill>
              </a:defRPr>
            </a:lvl1p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7"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13" name="Rectangle 12">
            <a:extLst>
              <a:ext uri="{FF2B5EF4-FFF2-40B4-BE49-F238E27FC236}">
                <a16:creationId xmlns:a16="http://schemas.microsoft.com/office/drawing/2014/main" id="{C87C8480-EFC8-037D-4492-0D1A3CE0AEF3}"/>
              </a:ext>
            </a:extLst>
          </p:cNvPr>
          <p:cNvSpPr/>
          <p:nvPr userDrawn="1"/>
        </p:nvSpPr>
        <p:spPr>
          <a:xfrm>
            <a:off x="288000" y="1036800"/>
            <a:ext cx="7617600" cy="25200"/>
          </a:xfrm>
          <a:prstGeom prst="rect">
            <a:avLst/>
          </a:prstGeom>
          <a:solidFill>
            <a:srgbClr val="3C3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Footer Placeholder 6">
            <a:extLst>
              <a:ext uri="{FF2B5EF4-FFF2-40B4-BE49-F238E27FC236}">
                <a16:creationId xmlns:a16="http://schemas.microsoft.com/office/drawing/2014/main" id="{DA0B6A31-3801-382C-595A-81D616D6F04B}"/>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E64D8672-5055-FE0F-0F41-09B11E1D86F0}"/>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1124655774"/>
      </p:ext>
    </p:extLst>
  </p:cSld>
  <p:clrMapOvr>
    <a:masterClrMapping/>
  </p:clrMapOvr>
  <p:extLst>
    <p:ext uri="{DCECCB84-F9BA-43D5-87BE-67443E8EF086}">
      <p15:sldGuideLst xmlns:p15="http://schemas.microsoft.com/office/powerpoint/2012/main">
        <p15:guide id="1" orient="horz" pos="865">
          <p15:clr>
            <a:srgbClr val="FFC000"/>
          </p15:clr>
        </p15:guide>
        <p15:guide id="2" pos="4981">
          <p15:clr>
            <a:srgbClr val="FFC000"/>
          </p15:clr>
        </p15:guide>
        <p15:guide id="3" orient="horz" pos="3957">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dark">
    <p:bg>
      <p:bgPr>
        <a:solidFill>
          <a:schemeClr val="bg1"/>
        </a:solidFill>
        <a:effectLst/>
      </p:bgPr>
    </p:bg>
    <p:spTree>
      <p:nvGrpSpPr>
        <p:cNvPr id="1" name=""/>
        <p:cNvGrpSpPr/>
        <p:nvPr/>
      </p:nvGrpSpPr>
      <p:grpSpPr>
        <a:xfrm>
          <a:off x="0" y="0"/>
          <a:ext cx="0" cy="0"/>
          <a:chOff x="0" y="0"/>
          <a:chExt cx="0" cy="0"/>
        </a:xfrm>
      </p:grpSpPr>
      <p:sp>
        <p:nvSpPr>
          <p:cNvPr id="16" name="Graphic 6">
            <a:extLst>
              <a:ext uri="{FF2B5EF4-FFF2-40B4-BE49-F238E27FC236}">
                <a16:creationId xmlns:a16="http://schemas.microsoft.com/office/drawing/2014/main" id="{60519756-9CDE-8EE4-E39E-1EBAFA638834}"/>
              </a:ext>
            </a:extLst>
          </p:cNvPr>
          <p:cNvSpPr/>
          <p:nvPr/>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3265200" y="1227600"/>
            <a:ext cx="5634000" cy="846000"/>
          </a:xfrm>
        </p:spPr>
        <p:txBody>
          <a:bodyPr anchor="b" anchorCtr="0"/>
          <a:lstStyle>
            <a:lvl1pPr>
              <a:defRPr sz="2000">
                <a:solidFill>
                  <a:schemeClr val="tx2"/>
                </a:solidFill>
              </a:defRPr>
            </a:lvl1pPr>
          </a:lstStyle>
          <a:p>
            <a:r>
              <a:rPr lang="en-US"/>
              <a:t>Click to edit Master title style</a:t>
            </a:r>
            <a:endParaRPr lang="en-GB" dirty="0"/>
          </a:p>
        </p:txBody>
      </p:sp>
      <p:sp>
        <p:nvSpPr>
          <p:cNvPr id="3" name="Textplatzhalter 2">
            <a:extLst>
              <a:ext uri="{FF2B5EF4-FFF2-40B4-BE49-F238E27FC236}">
                <a16:creationId xmlns:a16="http://schemas.microsoft.com/office/drawing/2014/main" id="{1CEC3744-8767-F352-6BF4-168B2740671D}"/>
              </a:ext>
            </a:extLst>
          </p:cNvPr>
          <p:cNvSpPr>
            <a:spLocks noGrp="1"/>
          </p:cNvSpPr>
          <p:nvPr>
            <p:ph type="body" idx="1"/>
          </p:nvPr>
        </p:nvSpPr>
        <p:spPr>
          <a:xfrm>
            <a:off x="3263393" y="2419200"/>
            <a:ext cx="5634000" cy="972000"/>
          </a:xfrm>
        </p:spPr>
        <p:txBody>
          <a:bodyPr tIns="72000"/>
          <a:lstStyle>
            <a:lvl1pPr marL="0" indent="0">
              <a:spcAft>
                <a:spcPts val="0"/>
              </a:spcAft>
              <a:buNone/>
              <a:defRPr sz="1400">
                <a:solidFill>
                  <a:schemeClr val="tx2"/>
                </a:solidFill>
              </a:defRPr>
            </a:lvl1pPr>
            <a:lvl2pPr marL="0" indent="0">
              <a:lnSpc>
                <a:spcPct val="100000"/>
              </a:lnSpc>
              <a:spcAft>
                <a:spcPts val="0"/>
              </a:spcAft>
              <a:buNone/>
              <a:defRPr sz="1400" b="1">
                <a:solidFill>
                  <a:schemeClr val="tx2"/>
                </a:solidFill>
              </a:defRPr>
            </a:lvl2pPr>
            <a:lvl3pPr marL="0" indent="0">
              <a:lnSpc>
                <a:spcPct val="100000"/>
              </a:lnSpc>
              <a:spcAft>
                <a:spcPts val="0"/>
              </a:spcAft>
              <a:buNone/>
              <a:defRPr sz="1400" b="1">
                <a:solidFill>
                  <a:schemeClr val="tx2"/>
                </a:solidFill>
              </a:defRPr>
            </a:lvl3pPr>
            <a:lvl4pPr marL="0" indent="0">
              <a:lnSpc>
                <a:spcPct val="100000"/>
              </a:lnSpc>
              <a:spcAft>
                <a:spcPts val="0"/>
              </a:spcAft>
              <a:buNone/>
              <a:defRPr sz="1400" b="1">
                <a:solidFill>
                  <a:schemeClr val="tx2"/>
                </a:solidFill>
              </a:defRPr>
            </a:lvl4pPr>
            <a:lvl5pPr marL="0" indent="0">
              <a:lnSpc>
                <a:spcPct val="100000"/>
              </a:lnSpc>
              <a:spcAft>
                <a:spcPts val="0"/>
              </a:spcAft>
              <a:buNone/>
              <a:defRPr sz="1400" b="1">
                <a:solidFill>
                  <a:schemeClr val="tx2"/>
                </a:solidFill>
              </a:defRPr>
            </a:lvl5pPr>
            <a:lvl6pPr marL="0" indent="0">
              <a:lnSpc>
                <a:spcPct val="100000"/>
              </a:lnSpc>
              <a:spcAft>
                <a:spcPts val="0"/>
              </a:spcAft>
              <a:buNone/>
              <a:defRPr sz="1400" b="1">
                <a:solidFill>
                  <a:schemeClr val="tx2"/>
                </a:solidFill>
              </a:defRPr>
            </a:lvl6pPr>
            <a:lvl7pPr marL="0" indent="0">
              <a:lnSpc>
                <a:spcPct val="100000"/>
              </a:lnSpc>
              <a:spcAft>
                <a:spcPts val="0"/>
              </a:spcAft>
              <a:buNone/>
              <a:defRPr sz="1400" b="1">
                <a:solidFill>
                  <a:schemeClr val="tx2"/>
                </a:solidFill>
              </a:defRPr>
            </a:lvl7pPr>
            <a:lvl8pPr marL="0" indent="0">
              <a:lnSpc>
                <a:spcPct val="100000"/>
              </a:lnSpc>
              <a:spcAft>
                <a:spcPts val="0"/>
              </a:spcAft>
              <a:buNone/>
              <a:defRPr sz="1400" b="1">
                <a:solidFill>
                  <a:schemeClr val="tx2"/>
                </a:solidFill>
              </a:defRPr>
            </a:lvl8pPr>
            <a:lvl9pPr marL="0" indent="0">
              <a:lnSpc>
                <a:spcPct val="100000"/>
              </a:lnSpc>
              <a:buNone/>
              <a:defRPr sz="1400" b="1">
                <a:solidFill>
                  <a:schemeClr val="tx2"/>
                </a:solidFill>
              </a:defRPr>
            </a:lvl9pPr>
          </a:lstStyle>
          <a:p>
            <a:pPr lvl="0"/>
            <a:r>
              <a:rPr lang="en-US"/>
              <a:t>Click to edit Master text styles</a:t>
            </a:r>
          </a:p>
        </p:txBody>
      </p:sp>
      <p:sp>
        <p:nvSpPr>
          <p:cNvPr id="19" name="Text Placeholder 18">
            <a:extLst>
              <a:ext uri="{FF2B5EF4-FFF2-40B4-BE49-F238E27FC236}">
                <a16:creationId xmlns:a16="http://schemas.microsoft.com/office/drawing/2014/main" id="{B5EE7763-A804-2BC3-47DE-9FD8018D3979}"/>
              </a:ext>
            </a:extLst>
          </p:cNvPr>
          <p:cNvSpPr>
            <a:spLocks noGrp="1"/>
          </p:cNvSpPr>
          <p:nvPr>
            <p:ph type="body" sz="quarter" idx="14" hasCustomPrompt="1"/>
          </p:nvPr>
        </p:nvSpPr>
        <p:spPr>
          <a:xfrm>
            <a:off x="214382" y="209550"/>
            <a:ext cx="2472859" cy="1925597"/>
          </a:xfrm>
        </p:spPr>
        <p:txBody>
          <a:bodyPr/>
          <a:lstStyle>
            <a:lvl1pPr>
              <a:lnSpc>
                <a:spcPct val="89000"/>
              </a:lnSpc>
              <a:spcAft>
                <a:spcPts val="600"/>
              </a:spcAft>
              <a:defRPr sz="15000" b="0" kern="1200" spc="-500" baseline="0">
                <a:solidFill>
                  <a:schemeClr val="bg1"/>
                </a:solidFill>
              </a:defRPr>
            </a:lvl1pPr>
            <a:lvl2pPr marL="0" indent="0">
              <a:lnSpc>
                <a:spcPct val="89000"/>
              </a:lnSpc>
              <a:spcAft>
                <a:spcPts val="600"/>
              </a:spcAft>
              <a:buNone/>
              <a:defRPr sz="17000" b="0">
                <a:solidFill>
                  <a:schemeClr val="accent1"/>
                </a:solidFill>
              </a:defRPr>
            </a:lvl2pPr>
            <a:lvl3pPr marL="270000" indent="0">
              <a:lnSpc>
                <a:spcPct val="89000"/>
              </a:lnSpc>
              <a:spcAft>
                <a:spcPts val="600"/>
              </a:spcAft>
              <a:buNone/>
              <a:defRPr sz="17000" b="0">
                <a:solidFill>
                  <a:schemeClr val="accent1"/>
                </a:solidFill>
              </a:defRPr>
            </a:lvl3pPr>
            <a:lvl4pPr marL="0" indent="0">
              <a:lnSpc>
                <a:spcPct val="89000"/>
              </a:lnSpc>
              <a:spcAft>
                <a:spcPts val="600"/>
              </a:spcAft>
              <a:buFont typeface="Arial" panose="020B0604020202020204" pitchFamily="34" charset="0"/>
              <a:buNone/>
              <a:defRPr sz="17000" b="0">
                <a:solidFill>
                  <a:schemeClr val="accent1"/>
                </a:solidFill>
              </a:defRPr>
            </a:lvl4pPr>
            <a:lvl5pPr marL="0" indent="0">
              <a:lnSpc>
                <a:spcPct val="89000"/>
              </a:lnSpc>
              <a:spcAft>
                <a:spcPts val="600"/>
              </a:spcAft>
              <a:buNone/>
              <a:defRPr sz="17000" b="0">
                <a:solidFill>
                  <a:schemeClr val="accent1"/>
                </a:solidFill>
              </a:defRPr>
            </a:lvl5pPr>
          </a:lstStyle>
          <a:p>
            <a:pPr lvl="0"/>
            <a:r>
              <a:rPr lang="en-GB"/>
              <a:t>00</a:t>
            </a:r>
            <a:endParaRPr lang="en-GB" dirty="0"/>
          </a:p>
        </p:txBody>
      </p:sp>
      <p:sp>
        <p:nvSpPr>
          <p:cNvPr id="5" name="Online Image Placeholder 9">
            <a:extLst>
              <a:ext uri="{FF2B5EF4-FFF2-40B4-BE49-F238E27FC236}">
                <a16:creationId xmlns:a16="http://schemas.microsoft.com/office/drawing/2014/main" id="{478C4D49-CEE0-F698-6BA8-FA0FCE38B3F9}"/>
              </a:ext>
            </a:extLst>
          </p:cNvPr>
          <p:cNvSpPr>
            <a:spLocks noGrp="1" noChangeAspect="1"/>
          </p:cNvSpPr>
          <p:nvPr>
            <p:ph type="clipArt" sz="quarter" idx="21" hasCustomPrompt="1"/>
          </p:nvPr>
        </p:nvSpPr>
        <p:spPr>
          <a:xfrm>
            <a:off x="288000" y="2228400"/>
            <a:ext cx="3679200" cy="25400"/>
          </a:xfrm>
          <a:solidFill>
            <a:srgbClr val="003C70"/>
          </a:solidFill>
        </p:spPr>
        <p:txBody>
          <a:bodyPr/>
          <a:lstStyle>
            <a:lvl1pPr>
              <a:defRPr sz="100" b="0">
                <a:solidFill>
                  <a:srgbClr val="3C3E00"/>
                </a:solidFill>
              </a:defRPr>
            </a:lvl1pPr>
          </a:lstStyle>
          <a:p>
            <a:r>
              <a:rPr lang="en-GB"/>
              <a:t>.</a:t>
            </a:r>
            <a:endParaRPr lang="en-GB" dirty="0"/>
          </a:p>
        </p:txBody>
      </p:sp>
      <p:sp>
        <p:nvSpPr>
          <p:cNvPr id="7" name="Online Image Placeholder 9">
            <a:extLst>
              <a:ext uri="{FF2B5EF4-FFF2-40B4-BE49-F238E27FC236}">
                <a16:creationId xmlns:a16="http://schemas.microsoft.com/office/drawing/2014/main" id="{A376B192-2A46-822B-5534-30CCE0DDCD9F}"/>
              </a:ext>
            </a:extLst>
          </p:cNvPr>
          <p:cNvSpPr>
            <a:spLocks noGrp="1"/>
          </p:cNvSpPr>
          <p:nvPr>
            <p:ph type="clipArt" sz="quarter" idx="22" hasCustomPrompt="1"/>
          </p:nvPr>
        </p:nvSpPr>
        <p:spPr>
          <a:xfrm>
            <a:off x="10751366" y="2228400"/>
            <a:ext cx="1440634" cy="25200"/>
          </a:xfrm>
          <a:solidFill>
            <a:srgbClr val="003C70"/>
          </a:solidFill>
        </p:spPr>
        <p:txBody>
          <a:bodyPr/>
          <a:lstStyle>
            <a:lvl1pPr>
              <a:defRPr sz="100" b="0">
                <a:solidFill>
                  <a:srgbClr val="3C3E00"/>
                </a:solidFill>
              </a:defRPr>
            </a:lvl1pPr>
          </a:lstStyle>
          <a:p>
            <a:r>
              <a:rPr lang="en-GB"/>
              <a:t>.</a:t>
            </a:r>
            <a:endParaRPr lang="en-GB" dirty="0"/>
          </a:p>
        </p:txBody>
      </p:sp>
      <p:sp>
        <p:nvSpPr>
          <p:cNvPr id="9" name="Footer Placeholder 8">
            <a:extLst>
              <a:ext uri="{FF2B5EF4-FFF2-40B4-BE49-F238E27FC236}">
                <a16:creationId xmlns:a16="http://schemas.microsoft.com/office/drawing/2014/main" id="{FC732ECB-9388-8CA1-EB01-6E87A925AB1B}"/>
              </a:ext>
            </a:extLst>
          </p:cNvPr>
          <p:cNvSpPr>
            <a:spLocks noGrp="1"/>
          </p:cNvSpPr>
          <p:nvPr>
            <p:ph type="ftr" sz="quarter" idx="23"/>
          </p:nvPr>
        </p:nvSpPr>
        <p:spPr>
          <a:xfrm>
            <a:off x="3265200" y="6450420"/>
            <a:ext cx="6656400" cy="144000"/>
          </a:xfrm>
        </p:spPr>
        <p:txBody>
          <a:bodyPr/>
          <a:lstStyle/>
          <a:p>
            <a:endParaRPr lang="en-GB"/>
          </a:p>
        </p:txBody>
      </p:sp>
      <p:sp>
        <p:nvSpPr>
          <p:cNvPr id="10" name="Slide Number Placeholder 9">
            <a:extLst>
              <a:ext uri="{FF2B5EF4-FFF2-40B4-BE49-F238E27FC236}">
                <a16:creationId xmlns:a16="http://schemas.microsoft.com/office/drawing/2014/main" id="{6FEBCB2A-7E50-4B55-C1F3-33448BAC5B28}"/>
              </a:ext>
            </a:extLst>
          </p:cNvPr>
          <p:cNvSpPr>
            <a:spLocks noGrp="1"/>
          </p:cNvSpPr>
          <p:nvPr>
            <p:ph type="sldNum" sz="quarter" idx="24"/>
          </p:nvPr>
        </p:nvSpPr>
        <p:spPr/>
        <p:txBody>
          <a:bodyPr/>
          <a:lstStyle>
            <a:lvl1pPr>
              <a:defRPr>
                <a:solidFill>
                  <a:schemeClr val="bg1"/>
                </a:solidFill>
              </a:defRPr>
            </a:lvl1pPr>
          </a:lstStyle>
          <a:p>
            <a:fld id="{D7FEE39F-AF01-4C24-8DDC-CF1BA81F434E}" type="slidenum">
              <a:rPr lang="en-GB" smtClean="0"/>
              <a:t>‹Nº›</a:t>
            </a:fld>
            <a:endParaRPr lang="en-GB"/>
          </a:p>
        </p:txBody>
      </p:sp>
    </p:spTree>
    <p:extLst>
      <p:ext uri="{BB962C8B-B14F-4D97-AF65-F5344CB8AC3E}">
        <p14:creationId xmlns:p14="http://schemas.microsoft.com/office/powerpoint/2010/main" val="1337256468"/>
      </p:ext>
    </p:extLst>
  </p:cSld>
  <p:clrMapOvr>
    <a:masterClrMapping/>
  </p:clrMapOvr>
  <p:extLst>
    <p:ext uri="{DCECCB84-F9BA-43D5-87BE-67443E8EF086}">
      <p15:sldGuideLst xmlns:p15="http://schemas.microsoft.com/office/powerpoint/2012/main">
        <p15:guide id="1" orient="horz" pos="1521">
          <p15:clr>
            <a:srgbClr val="FFC000"/>
          </p15:clr>
        </p15:guide>
        <p15:guide id="2" orient="horz" pos="1347">
          <p15:clr>
            <a:srgbClr val="FFC000"/>
          </p15:clr>
        </p15:guide>
        <p15:guide id="3" pos="1704">
          <p15:clr>
            <a:srgbClr val="FFC000"/>
          </p15:clr>
        </p15:guide>
        <p15:guide id="4" orient="horz" pos="3957">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Picture">
    <p:bg>
      <p:bgPr>
        <a:solidFill>
          <a:srgbClr val="3C3E00"/>
        </a:solidFill>
        <a:effectLst/>
      </p:bgPr>
    </p:bg>
    <p:spTree>
      <p:nvGrpSpPr>
        <p:cNvPr id="1" name=""/>
        <p:cNvGrpSpPr/>
        <p:nvPr/>
      </p:nvGrpSpPr>
      <p:grpSpPr>
        <a:xfrm>
          <a:off x="0" y="0"/>
          <a:ext cx="0" cy="0"/>
          <a:chOff x="0" y="0"/>
          <a:chExt cx="0" cy="0"/>
        </a:xfrm>
      </p:grpSpPr>
      <p:pic>
        <p:nvPicPr>
          <p:cNvPr id="5" name="Grafik 10">
            <a:extLst>
              <a:ext uri="{FF2B5EF4-FFF2-40B4-BE49-F238E27FC236}">
                <a16:creationId xmlns:a16="http://schemas.microsoft.com/office/drawing/2014/main" id="{7FA45EF1-65E8-7C9F-0BDF-ED75C2AABE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50904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88000" y="1379538"/>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4119636"/>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3393">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s with Background Grey 95">
    <p:bg>
      <p:bgPr>
        <a:solidFill>
          <a:srgbClr val="F1F1F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46836440"/>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Blue 25">
    <p:bg>
      <p:bgPr>
        <a:solidFill>
          <a:srgbClr val="003C7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75BCEC29-2BC5-3234-39D0-FC2D17F5E4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771541117"/>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light">
    <p:bg>
      <p:bgPr>
        <a:solidFill>
          <a:schemeClr val="accent1"/>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DCBA62C2-C7B7-87CF-008A-31AD89387C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894236433"/>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pos="3831">
          <p15:clr>
            <a:srgbClr val="FFC000"/>
          </p15:clr>
        </p15:guide>
        <p15:guide id="4" orient="horz" pos="865">
          <p15:clr>
            <a:srgbClr val="FFC000"/>
          </p15:clr>
        </p15:guide>
        <p15:guide id="5" orient="horz" pos="3957">
          <p15:clr>
            <a:srgbClr val="FFC000"/>
          </p15:clr>
        </p15:guide>
        <p15:guide id="6" pos="339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wo Contents with Background dark">
    <p:bg>
      <p:bgPr>
        <a:solidFill>
          <a:srgbClr val="3C3E00"/>
        </a:solidFill>
        <a:effectLst/>
      </p:bgPr>
    </p:bg>
    <p:spTree>
      <p:nvGrpSpPr>
        <p:cNvPr id="1" name=""/>
        <p:cNvGrpSpPr/>
        <p:nvPr/>
      </p:nvGrpSpPr>
      <p:grpSpPr>
        <a:xfrm>
          <a:off x="0" y="0"/>
          <a:ext cx="0" cy="0"/>
          <a:chOff x="0" y="0"/>
          <a:chExt cx="0" cy="0"/>
        </a:xfrm>
      </p:grpSpPr>
      <p:sp>
        <p:nvSpPr>
          <p:cNvPr id="11" name="Graphic 4">
            <a:extLst>
              <a:ext uri="{FF2B5EF4-FFF2-40B4-BE49-F238E27FC236}">
                <a16:creationId xmlns:a16="http://schemas.microsoft.com/office/drawing/2014/main" id="{241EF4CA-882A-70EE-A9F3-E951C674AF7B}"/>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8" y="272485"/>
            <a:ext cx="5090400" cy="612000"/>
          </a:xfrm>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527800" y="1378800"/>
            <a:ext cx="5090400" cy="4903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090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FBEC5D30-3275-A3EC-047D-92F4B32B513A}"/>
              </a:ext>
            </a:extLst>
          </p:cNvPr>
          <p:cNvSpPr>
            <a:spLocks noGrp="1"/>
          </p:cNvSpPr>
          <p:nvPr>
            <p:ph type="ftr" sz="quarter" idx="17"/>
          </p:nvPr>
        </p:nvSpPr>
        <p:spPr>
          <a:xfrm>
            <a:off x="1278000" y="6450420"/>
            <a:ext cx="4060800" cy="144000"/>
          </a:xfrm>
        </p:spPr>
        <p:txBody>
          <a:bodyPr/>
          <a:lstStyle/>
          <a:p>
            <a:endParaRPr lang="en-GB" noProof="0" dirty="0"/>
          </a:p>
        </p:txBody>
      </p:sp>
      <p:sp>
        <p:nvSpPr>
          <p:cNvPr id="10" name="Slide Number Placeholder 9">
            <a:extLst>
              <a:ext uri="{FF2B5EF4-FFF2-40B4-BE49-F238E27FC236}">
                <a16:creationId xmlns:a16="http://schemas.microsoft.com/office/drawing/2014/main" id="{2D7ABE19-FD1E-9438-9FC1-29C90EEEE6B4}"/>
              </a:ext>
            </a:extLst>
          </p:cNvPr>
          <p:cNvSpPr>
            <a:spLocks noGrp="1"/>
          </p:cNvSpPr>
          <p:nvPr>
            <p:ph type="sldNum" sz="quarter" idx="18"/>
          </p:nvPr>
        </p:nvSpPr>
        <p:spPr/>
        <p:txBody>
          <a:bodyPr/>
          <a:lstStyle/>
          <a:p>
            <a:fld id="{9A0F3412-00EB-454F-952B-1EB5D3D69307}" type="slidenum">
              <a:rPr lang="en-GB" noProof="0" smtClean="0"/>
              <a:pPr/>
              <a:t>‹Nº›</a:t>
            </a:fld>
            <a:endParaRPr lang="en-GB" noProof="0" dirty="0"/>
          </a:p>
        </p:txBody>
      </p:sp>
      <p:pic>
        <p:nvPicPr>
          <p:cNvPr id="5" name="Grafik 10">
            <a:extLst>
              <a:ext uri="{FF2B5EF4-FFF2-40B4-BE49-F238E27FC236}">
                <a16:creationId xmlns:a16="http://schemas.microsoft.com/office/drawing/2014/main" id="{505444E4-6B96-E182-C5E3-766A53CD5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64785895"/>
      </p:ext>
    </p:extLst>
  </p:cSld>
  <p:clrMapOvr>
    <a:masterClrMapping/>
  </p:clrMapOvr>
  <p:extLst>
    <p:ext uri="{DCECCB84-F9BA-43D5-87BE-67443E8EF086}">
      <p15:sldGuideLst xmlns:p15="http://schemas.microsoft.com/office/powerpoint/2012/main">
        <p15:guide id="1" pos="7324">
          <p15:clr>
            <a:srgbClr val="FFC000"/>
          </p15:clr>
        </p15:guide>
        <p15:guide id="2" pos="4106">
          <p15:clr>
            <a:srgbClr val="FFC000"/>
          </p15:clr>
        </p15:guide>
        <p15:guide id="3" orient="horz" pos="865">
          <p15:clr>
            <a:srgbClr val="FFC000"/>
          </p15:clr>
        </p15:guide>
        <p15:guide id="4" orient="horz" pos="3957">
          <p15:clr>
            <a:srgbClr val="FFC000"/>
          </p15:clr>
        </p15:guide>
        <p15:guide id="5" pos="3393">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0" name="Content Placeholder 9">
            <a:extLst>
              <a:ext uri="{FF2B5EF4-FFF2-40B4-BE49-F238E27FC236}">
                <a16:creationId xmlns:a16="http://schemas.microsoft.com/office/drawing/2014/main" id="{BA56E249-7AEA-83D1-24C6-550B472E2D47}"/>
              </a:ext>
            </a:extLst>
          </p:cNvPr>
          <p:cNvSpPr>
            <a:spLocks noGrp="1"/>
          </p:cNvSpPr>
          <p:nvPr>
            <p:ph sz="quarter" idx="14"/>
          </p:nvPr>
        </p:nvSpPr>
        <p:spPr>
          <a:xfrm>
            <a:off x="287338" y="1378800"/>
            <a:ext cx="11615737" cy="4903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537266075"/>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6236672"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56700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DA5E7C35-63EC-AD03-6A7A-F9BD0CA92A0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1885B91D-4685-5F58-F0CF-68DFC8CADE20}"/>
              </a:ext>
            </a:extLst>
          </p:cNvPr>
          <p:cNvSpPr>
            <a:spLocks noGrp="1"/>
          </p:cNvSpPr>
          <p:nvPr>
            <p:ph type="ftr" sz="quarter" idx="15"/>
          </p:nvPr>
        </p:nvSpPr>
        <p:spPr/>
        <p:txBody>
          <a:bodyPr/>
          <a:lstStyle/>
          <a:p>
            <a:endParaRPr lang="en-GB" noProof="0" dirty="0"/>
          </a:p>
        </p:txBody>
      </p:sp>
      <p:sp>
        <p:nvSpPr>
          <p:cNvPr id="8" name="Slide Number Placeholder 7">
            <a:extLst>
              <a:ext uri="{FF2B5EF4-FFF2-40B4-BE49-F238E27FC236}">
                <a16:creationId xmlns:a16="http://schemas.microsoft.com/office/drawing/2014/main" id="{CB309E67-4CCB-C781-B73D-ABA1E30E8E54}"/>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639213904"/>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8">
          <p15:clr>
            <a:srgbClr val="FFC000"/>
          </p15:clr>
        </p15:guide>
        <p15:guide id="3" pos="7500">
          <p15:clr>
            <a:srgbClr val="FFC000"/>
          </p15:clr>
        </p15:guide>
        <p15:guide id="4" pos="3912">
          <p15:clr>
            <a:srgbClr val="FFC000"/>
          </p15:clr>
        </p15:guide>
        <p15:guide id="5" pos="3767">
          <p15:clr>
            <a:srgbClr val="FFC000"/>
          </p15:clr>
        </p15:guide>
        <p15:guide id="6" pos="181">
          <p15:clr>
            <a:srgbClr val="FFC000"/>
          </p15:clr>
        </p15:guide>
        <p15:guide id="7" orient="horz" pos="4139">
          <p15:clr>
            <a:srgbClr val="FFC000"/>
          </p15:clr>
        </p15:guide>
        <p15:guide id="8" orient="horz" pos="169">
          <p15:clr>
            <a:srgbClr val="FFC00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7" name="Rectangle 16">
            <a:extLst>
              <a:ext uri="{FF2B5EF4-FFF2-40B4-BE49-F238E27FC236}">
                <a16:creationId xmlns:a16="http://schemas.microsoft.com/office/drawing/2014/main" id="{1F0F0774-A736-B58B-3457-888B317F237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9">
            <a:extLst>
              <a:ext uri="{FF2B5EF4-FFF2-40B4-BE49-F238E27FC236}">
                <a16:creationId xmlns:a16="http://schemas.microsoft.com/office/drawing/2014/main" id="{00E0E6CC-1586-9C98-0538-5FE2A981A44A}"/>
              </a:ext>
            </a:extLst>
          </p:cNvPr>
          <p:cNvSpPr>
            <a:spLocks noGrp="1"/>
          </p:cNvSpPr>
          <p:nvPr>
            <p:ph sz="quarter" idx="14"/>
          </p:nvPr>
        </p:nvSpPr>
        <p:spPr>
          <a:xfrm>
            <a:off x="287337" y="1378800"/>
            <a:ext cx="3684588"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9">
            <a:extLst>
              <a:ext uri="{FF2B5EF4-FFF2-40B4-BE49-F238E27FC236}">
                <a16:creationId xmlns:a16="http://schemas.microsoft.com/office/drawing/2014/main" id="{93B3071F-F438-DCFD-E005-F4E2F754048B}"/>
              </a:ext>
            </a:extLst>
          </p:cNvPr>
          <p:cNvSpPr>
            <a:spLocks noGrp="1"/>
          </p:cNvSpPr>
          <p:nvPr>
            <p:ph sz="quarter" idx="16"/>
          </p:nvPr>
        </p:nvSpPr>
        <p:spPr>
          <a:xfrm>
            <a:off x="8216674"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Inhaltsplatzhalter 3">
            <a:extLst>
              <a:ext uri="{FF2B5EF4-FFF2-40B4-BE49-F238E27FC236}">
                <a16:creationId xmlns:a16="http://schemas.microsoft.com/office/drawing/2014/main" id="{9410BB89-0101-18E6-2EF2-6C91E8F158F7}"/>
              </a:ext>
            </a:extLst>
          </p:cNvPr>
          <p:cNvSpPr>
            <a:spLocks noGrp="1"/>
          </p:cNvSpPr>
          <p:nvPr>
            <p:ph sz="half" idx="17"/>
          </p:nvPr>
        </p:nvSpPr>
        <p:spPr>
          <a:xfrm>
            <a:off x="4260850" y="1378800"/>
            <a:ext cx="36864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8">
            <a:extLst>
              <a:ext uri="{FF2B5EF4-FFF2-40B4-BE49-F238E27FC236}">
                <a16:creationId xmlns:a16="http://schemas.microsoft.com/office/drawing/2014/main" id="{6F467332-8CFF-A83D-77AC-88AA3D45B718}"/>
              </a:ext>
            </a:extLst>
          </p:cNvPr>
          <p:cNvSpPr>
            <a:spLocks noGrp="1"/>
          </p:cNvSpPr>
          <p:nvPr>
            <p:ph type="ftr" sz="quarter" idx="18"/>
          </p:nvPr>
        </p:nvSpPr>
        <p:spPr/>
        <p:txBody>
          <a:bodyPr/>
          <a:lstStyle/>
          <a:p>
            <a:endParaRPr lang="en-GB" noProof="0" dirty="0"/>
          </a:p>
        </p:txBody>
      </p:sp>
      <p:sp>
        <p:nvSpPr>
          <p:cNvPr id="10" name="Slide Number Placeholder 9">
            <a:extLst>
              <a:ext uri="{FF2B5EF4-FFF2-40B4-BE49-F238E27FC236}">
                <a16:creationId xmlns:a16="http://schemas.microsoft.com/office/drawing/2014/main" id="{C350C5DF-5065-DC79-B6C0-C48D4B2C6CB0}"/>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632621927"/>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158">
          <p15:clr>
            <a:srgbClr val="FFC000"/>
          </p15:clr>
        </p15:guide>
        <p15:guide id="4" pos="5015">
          <p15:clr>
            <a:srgbClr val="FFC000"/>
          </p15:clr>
        </p15:guide>
        <p15:guide id="5" pos="2677">
          <p15:clr>
            <a:srgbClr val="FFC000"/>
          </p15:clr>
        </p15:guide>
        <p15:guide id="6" pos="2503">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4" name="Inhaltsplatzhalter 3">
            <a:extLst>
              <a:ext uri="{FF2B5EF4-FFF2-40B4-BE49-F238E27FC236}">
                <a16:creationId xmlns:a16="http://schemas.microsoft.com/office/drawing/2014/main" id="{37F844B2-EE29-9DE5-52C5-C7D16A6D6892}"/>
              </a:ext>
            </a:extLst>
          </p:cNvPr>
          <p:cNvSpPr>
            <a:spLocks noGrp="1"/>
          </p:cNvSpPr>
          <p:nvPr>
            <p:ph sz="half" idx="2"/>
          </p:nvPr>
        </p:nvSpPr>
        <p:spPr>
          <a:xfrm>
            <a:off x="92178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9">
            <a:extLst>
              <a:ext uri="{FF2B5EF4-FFF2-40B4-BE49-F238E27FC236}">
                <a16:creationId xmlns:a16="http://schemas.microsoft.com/office/drawing/2014/main" id="{CBFF8C55-066E-D111-C226-02197D95EA3B}"/>
              </a:ext>
            </a:extLst>
          </p:cNvPr>
          <p:cNvSpPr>
            <a:spLocks noGrp="1"/>
          </p:cNvSpPr>
          <p:nvPr>
            <p:ph sz="quarter" idx="14"/>
          </p:nvPr>
        </p:nvSpPr>
        <p:spPr>
          <a:xfrm>
            <a:off x="287337"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9">
            <a:extLst>
              <a:ext uri="{FF2B5EF4-FFF2-40B4-BE49-F238E27FC236}">
                <a16:creationId xmlns:a16="http://schemas.microsoft.com/office/drawing/2014/main" id="{60CD936A-5C06-33D9-1B52-E475F551E9A3}"/>
              </a:ext>
            </a:extLst>
          </p:cNvPr>
          <p:cNvSpPr>
            <a:spLocks noGrp="1"/>
          </p:cNvSpPr>
          <p:nvPr>
            <p:ph sz="quarter" idx="16"/>
          </p:nvPr>
        </p:nvSpPr>
        <p:spPr>
          <a:xfrm>
            <a:off x="62352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Inhaltsplatzhalter 3">
            <a:extLst>
              <a:ext uri="{FF2B5EF4-FFF2-40B4-BE49-F238E27FC236}">
                <a16:creationId xmlns:a16="http://schemas.microsoft.com/office/drawing/2014/main" id="{A3DA6D5A-A339-4B79-2219-AE17A2290611}"/>
              </a:ext>
            </a:extLst>
          </p:cNvPr>
          <p:cNvSpPr>
            <a:spLocks noGrp="1"/>
          </p:cNvSpPr>
          <p:nvPr>
            <p:ph sz="half" idx="17"/>
          </p:nvPr>
        </p:nvSpPr>
        <p:spPr>
          <a:xfrm>
            <a:off x="3269938"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142042449"/>
      </p:ext>
    </p:extLst>
  </p:cSld>
  <p:clrMapOvr>
    <a:masterClrMapping/>
  </p:clrMapOvr>
  <p:extLst>
    <p:ext uri="{DCECCB84-F9BA-43D5-87BE-67443E8EF086}">
      <p15:sldGuideLst xmlns:p15="http://schemas.microsoft.com/office/powerpoint/2012/main">
        <p15:guide id="1" pos="5799">
          <p15:clr>
            <a:srgbClr val="FFC000"/>
          </p15:clr>
        </p15:guide>
        <p15:guide id="2" pos="5617">
          <p15:clr>
            <a:srgbClr val="FFC000"/>
          </p15:clr>
        </p15:guide>
        <p15:guide id="3" pos="3912">
          <p15:clr>
            <a:srgbClr val="FFC000"/>
          </p15:clr>
        </p15:guide>
        <p15:guide id="4" pos="3754">
          <p15:clr>
            <a:srgbClr val="FFC000"/>
          </p15:clr>
        </p15:guide>
        <p15:guide id="5" pos="2055">
          <p15:clr>
            <a:srgbClr val="FFC000"/>
          </p15:clr>
        </p15:guide>
        <p15:guide id="6" pos="1873">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Picture (3: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9216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799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9085714"/>
      </p:ext>
    </p:extLst>
  </p:cSld>
  <p:clrMapOvr>
    <a:masterClrMapping/>
  </p:clrMapOvr>
  <p:extLst>
    <p:ext uri="{DCECCB84-F9BA-43D5-87BE-67443E8EF086}">
      <p15:sldGuideLst xmlns:p15="http://schemas.microsoft.com/office/powerpoint/2012/main">
        <p15:guide id="1" pos="5799">
          <p15:clr>
            <a:srgbClr val="FFC000"/>
          </p15:clr>
        </p15:guide>
        <p15:guide id="2" pos="5625">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ext, Picture large">
    <p:bg>
      <p:bgPr>
        <a:solidFill>
          <a:srgbClr val="003C70"/>
        </a:solidFill>
        <a:effectLst/>
      </p:bgPr>
    </p:bg>
    <p:spTree>
      <p:nvGrpSpPr>
        <p:cNvPr id="1" name=""/>
        <p:cNvGrpSpPr/>
        <p:nvPr/>
      </p:nvGrpSpPr>
      <p:grpSpPr>
        <a:xfrm>
          <a:off x="0" y="0"/>
          <a:ext cx="0" cy="0"/>
          <a:chOff x="0" y="0"/>
          <a:chExt cx="0" cy="0"/>
        </a:xfrm>
      </p:grpSpPr>
      <p:pic>
        <p:nvPicPr>
          <p:cNvPr id="4" name="Grafik 10">
            <a:extLst>
              <a:ext uri="{FF2B5EF4-FFF2-40B4-BE49-F238E27FC236}">
                <a16:creationId xmlns:a16="http://schemas.microsoft.com/office/drawing/2014/main" id="{DCEA1B8A-ACF1-3919-0C08-7E71980EBEB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5" name="Picture Placeholder 14">
            <a:extLst>
              <a:ext uri="{FF2B5EF4-FFF2-40B4-BE49-F238E27FC236}">
                <a16:creationId xmlns:a16="http://schemas.microsoft.com/office/drawing/2014/main" id="{15264148-2665-8D2E-D76E-A0FC2595BD44}"/>
              </a:ext>
            </a:extLst>
          </p:cNvPr>
          <p:cNvSpPr>
            <a:spLocks noGrp="1"/>
          </p:cNvSpPr>
          <p:nvPr>
            <p:ph type="pic" sz="quarter" idx="13"/>
          </p:nvPr>
        </p:nvSpPr>
        <p:spPr>
          <a:xfrm>
            <a:off x="2688298" y="0"/>
            <a:ext cx="9503702" cy="6858000"/>
          </a:xfrm>
          <a:custGeom>
            <a:avLst/>
            <a:gdLst>
              <a:gd name="connsiteX0" fmla="*/ 0 w 9503702"/>
              <a:gd name="connsiteY0" fmla="*/ 0 h 6858000"/>
              <a:gd name="connsiteX1" fmla="*/ 9503702 w 9503702"/>
              <a:gd name="connsiteY1" fmla="*/ 0 h 6858000"/>
              <a:gd name="connsiteX2" fmla="*/ 9503702 w 9503702"/>
              <a:gd name="connsiteY2" fmla="*/ 6858000 h 6858000"/>
              <a:gd name="connsiteX3" fmla="*/ 0 w 9503702"/>
              <a:gd name="connsiteY3" fmla="*/ 6858000 h 6858000"/>
              <a:gd name="connsiteX4" fmla="*/ 287998 w 9503702"/>
              <a:gd name="connsiteY4" fmla="*/ 6570002 h 6858000"/>
              <a:gd name="connsiteX5" fmla="*/ 287998 w 9503702"/>
              <a:gd name="connsiteY5" fmla="*/ 287998 h 6858000"/>
              <a:gd name="connsiteX6" fmla="*/ 0 w 9503702"/>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3702" h="6858000">
                <a:moveTo>
                  <a:pt x="0" y="0"/>
                </a:moveTo>
                <a:lnTo>
                  <a:pt x="9503702" y="0"/>
                </a:lnTo>
                <a:lnTo>
                  <a:pt x="9503702" y="6858000"/>
                </a:lnTo>
                <a:lnTo>
                  <a:pt x="0" y="6858000"/>
                </a:lnTo>
                <a:cubicBezTo>
                  <a:pt x="159055" y="6858000"/>
                  <a:pt x="287998" y="6729057"/>
                  <a:pt x="287998" y="6570002"/>
                </a:cubicBezTo>
                <a:lnTo>
                  <a:pt x="287998" y="287998"/>
                </a:lnTo>
                <a:cubicBezTo>
                  <a:pt x="287998" y="128943"/>
                  <a:pt x="159055"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Graphic 6">
            <a:extLst>
              <a:ext uri="{FF2B5EF4-FFF2-40B4-BE49-F238E27FC236}">
                <a16:creationId xmlns:a16="http://schemas.microsoft.com/office/drawing/2014/main" id="{60519756-9CDE-8EE4-E39E-1EBAFA638834}"/>
              </a:ext>
            </a:extLst>
          </p:cNvPr>
          <p:cNvSpPr/>
          <p:nvPr/>
        </p:nvSpPr>
        <p:spPr>
          <a:xfrm>
            <a:off x="0" y="0"/>
            <a:ext cx="2976295" cy="6858000"/>
          </a:xfrm>
          <a:custGeom>
            <a:avLst/>
            <a:gdLst>
              <a:gd name="connsiteX0" fmla="*/ 0 w 2976295"/>
              <a:gd name="connsiteY0" fmla="*/ 0 h 6858000"/>
              <a:gd name="connsiteX1" fmla="*/ 0 w 2976295"/>
              <a:gd name="connsiteY1" fmla="*/ 6858000 h 6858000"/>
              <a:gd name="connsiteX2" fmla="*/ 2688298 w 2976295"/>
              <a:gd name="connsiteY2" fmla="*/ 6858000 h 6858000"/>
              <a:gd name="connsiteX3" fmla="*/ 2976296 w 2976295"/>
              <a:gd name="connsiteY3" fmla="*/ 6570002 h 6858000"/>
              <a:gd name="connsiteX4" fmla="*/ 2976296 w 2976295"/>
              <a:gd name="connsiteY4" fmla="*/ 287998 h 6858000"/>
              <a:gd name="connsiteX5" fmla="*/ 2688298 w 2976295"/>
              <a:gd name="connsiteY5" fmla="*/ 0 h 6858000"/>
              <a:gd name="connsiteX6" fmla="*/ 0 w 2976295"/>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295" h="6858000">
                <a:moveTo>
                  <a:pt x="0" y="0"/>
                </a:moveTo>
                <a:lnTo>
                  <a:pt x="0" y="6858000"/>
                </a:lnTo>
                <a:lnTo>
                  <a:pt x="2688298" y="6858000"/>
                </a:lnTo>
                <a:cubicBezTo>
                  <a:pt x="2847353" y="6858000"/>
                  <a:pt x="2976296" y="6729057"/>
                  <a:pt x="2976296" y="6570002"/>
                </a:cubicBezTo>
                <a:lnTo>
                  <a:pt x="2976296" y="287998"/>
                </a:lnTo>
                <a:cubicBezTo>
                  <a:pt x="2976296" y="128943"/>
                  <a:pt x="2847353" y="0"/>
                  <a:pt x="2688298"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24737160-023D-A9FB-7B86-92B8ABC9CD22}"/>
              </a:ext>
            </a:extLst>
          </p:cNvPr>
          <p:cNvSpPr>
            <a:spLocks noGrp="1"/>
          </p:cNvSpPr>
          <p:nvPr>
            <p:ph type="title"/>
          </p:nvPr>
        </p:nvSpPr>
        <p:spPr>
          <a:xfrm>
            <a:off x="287098" y="1376363"/>
            <a:ext cx="2401200" cy="972000"/>
          </a:xfrm>
        </p:spPr>
        <p:txBody>
          <a:bodyPr anchor="t" anchorCtr="0"/>
          <a:lstStyle>
            <a:lvl1pPr>
              <a:defRPr sz="2000">
                <a:solidFill>
                  <a:schemeClr val="tx2"/>
                </a:solidFill>
              </a:defRPr>
            </a:lvl1pPr>
          </a:lstStyle>
          <a:p>
            <a:r>
              <a:rPr lang="en-US"/>
              <a:t>Click to edit Master title style</a:t>
            </a:r>
            <a:endParaRPr lang="en-GB" dirty="0"/>
          </a:p>
        </p:txBody>
      </p:sp>
      <p:sp>
        <p:nvSpPr>
          <p:cNvPr id="7" name="Footer Placeholder 6">
            <a:extLst>
              <a:ext uri="{FF2B5EF4-FFF2-40B4-BE49-F238E27FC236}">
                <a16:creationId xmlns:a16="http://schemas.microsoft.com/office/drawing/2014/main" id="{63CF035E-3E24-71F2-ECCF-0FC3A9F69A7F}"/>
              </a:ext>
            </a:extLst>
          </p:cNvPr>
          <p:cNvSpPr>
            <a:spLocks noGrp="1"/>
          </p:cNvSpPr>
          <p:nvPr>
            <p:ph type="ftr" sz="quarter" idx="18"/>
          </p:nvPr>
        </p:nvSpPr>
        <p:spPr>
          <a:xfrm>
            <a:off x="3265200" y="6450420"/>
            <a:ext cx="6656400" cy="144000"/>
          </a:xfrm>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DCEFAE0E-A49B-4091-85D7-B91D0281AED1}"/>
              </a:ext>
            </a:extLst>
          </p:cNvPr>
          <p:cNvSpPr>
            <a:spLocks noGrp="1"/>
          </p:cNvSpPr>
          <p:nvPr>
            <p:ph type="sldNum" sz="quarter" idx="19"/>
          </p:nvPr>
        </p:nvSpPr>
        <p:spPr/>
        <p:txBody>
          <a:bodyPr/>
          <a:lstStyle/>
          <a:p>
            <a:fld id="{D7FEE39F-AF01-4C24-8DDC-CF1BA81F434E}" type="slidenum">
              <a:rPr lang="en-GB" smtClean="0"/>
              <a:t>‹Nº›</a:t>
            </a:fld>
            <a:endParaRPr lang="en-GB"/>
          </a:p>
        </p:txBody>
      </p:sp>
      <p:sp>
        <p:nvSpPr>
          <p:cNvPr id="10" name="Online Image Placeholder 9">
            <a:extLst>
              <a:ext uri="{FF2B5EF4-FFF2-40B4-BE49-F238E27FC236}">
                <a16:creationId xmlns:a16="http://schemas.microsoft.com/office/drawing/2014/main" id="{E0787F05-BFE0-BCD8-3023-E6D2DDA482BC}"/>
              </a:ext>
            </a:extLst>
          </p:cNvPr>
          <p:cNvSpPr>
            <a:spLocks noGrp="1" noChangeAspect="1"/>
          </p:cNvSpPr>
          <p:nvPr>
            <p:ph type="clipArt" sz="quarter" idx="20" hasCustomPrompt="1"/>
          </p:nvPr>
        </p:nvSpPr>
        <p:spPr>
          <a:xfrm>
            <a:off x="288000" y="1036800"/>
            <a:ext cx="3679200" cy="25400"/>
          </a:xfrm>
          <a:solidFill>
            <a:schemeClr val="accent1"/>
          </a:solidFill>
        </p:spPr>
        <p:txBody>
          <a:bodyPr/>
          <a:lstStyle>
            <a:lvl1pPr>
              <a:defRPr sz="100" b="0">
                <a:solidFill>
                  <a:srgbClr val="3C3E00"/>
                </a:solidFill>
              </a:defRPr>
            </a:lvl1pPr>
          </a:lstStyle>
          <a:p>
            <a:r>
              <a:rPr lang="en-GB"/>
              <a:t>.</a:t>
            </a:r>
            <a:endParaRPr lang="en-GB" dirty="0"/>
          </a:p>
        </p:txBody>
      </p:sp>
      <p:sp>
        <p:nvSpPr>
          <p:cNvPr id="11" name="Online Image Placeholder 9">
            <a:extLst>
              <a:ext uri="{FF2B5EF4-FFF2-40B4-BE49-F238E27FC236}">
                <a16:creationId xmlns:a16="http://schemas.microsoft.com/office/drawing/2014/main" id="{A7429042-57AB-06D1-342B-2011144DE143}"/>
              </a:ext>
            </a:extLst>
          </p:cNvPr>
          <p:cNvSpPr>
            <a:spLocks noGrp="1"/>
          </p:cNvSpPr>
          <p:nvPr>
            <p:ph type="clipArt" sz="quarter" idx="21" hasCustomPrompt="1"/>
          </p:nvPr>
        </p:nvSpPr>
        <p:spPr>
          <a:xfrm>
            <a:off x="10751366" y="1036800"/>
            <a:ext cx="1440634" cy="25200"/>
          </a:xfrm>
          <a:solidFill>
            <a:schemeClr val="accent1"/>
          </a:solidFill>
        </p:spPr>
        <p:txBody>
          <a:bodyPr/>
          <a:lstStyle>
            <a:lvl1pPr>
              <a:defRPr sz="100" b="0">
                <a:solidFill>
                  <a:srgbClr val="3C3E00"/>
                </a:solidFill>
              </a:defRPr>
            </a:lvl1pPr>
          </a:lstStyle>
          <a:p>
            <a:r>
              <a:rPr lang="en-GB"/>
              <a:t>.</a:t>
            </a:r>
            <a:endParaRPr lang="en-GB" dirty="0"/>
          </a:p>
        </p:txBody>
      </p:sp>
      <p:sp>
        <p:nvSpPr>
          <p:cNvPr id="20" name="Text Placeholder 19">
            <a:extLst>
              <a:ext uri="{FF2B5EF4-FFF2-40B4-BE49-F238E27FC236}">
                <a16:creationId xmlns:a16="http://schemas.microsoft.com/office/drawing/2014/main" id="{6879761B-5C15-26D3-4E48-C9A8F18D168E}"/>
              </a:ext>
            </a:extLst>
          </p:cNvPr>
          <p:cNvSpPr>
            <a:spLocks noGrp="1"/>
          </p:cNvSpPr>
          <p:nvPr>
            <p:ph type="body" sz="quarter" idx="23"/>
          </p:nvPr>
        </p:nvSpPr>
        <p:spPr>
          <a:xfrm>
            <a:off x="287470" y="1928174"/>
            <a:ext cx="2400300" cy="3060000"/>
          </a:xfrm>
        </p:spPr>
        <p:txBody>
          <a:bodyPr tIns="378000"/>
          <a:lstStyle>
            <a:lvl1pPr>
              <a:defRPr b="0"/>
            </a:lvl1pPr>
            <a:lvl2pPr>
              <a:spcAft>
                <a:spcPts val="1600"/>
              </a:spcAft>
              <a:defRPr/>
            </a:lvl2pPr>
            <a:lvl3pPr marL="0" indent="0">
              <a:buNone/>
              <a:defRPr/>
            </a:lvl3pPr>
            <a:lvl4pPr marL="270000" indent="-270000">
              <a:spcAft>
                <a:spcPts val="1600"/>
              </a:spcAft>
              <a:buFont typeface="Symbol" panose="05050102010706020507" pitchFamily="18" charset="2"/>
              <a:buChar char="-"/>
              <a:defRPr sz="1400" b="0"/>
            </a:lvl4pPr>
            <a:lvl5pPr marL="0" indent="0" algn="l">
              <a:spcAft>
                <a:spcPts val="600"/>
              </a:spcAft>
              <a:buNone/>
              <a:defRPr sz="1400" b="0"/>
            </a:lvl5pPr>
            <a:lvl6pPr marL="270000" indent="-270000" algn="l">
              <a:spcAft>
                <a:spcPts val="1600"/>
              </a:spcAft>
              <a:buFont typeface="Symbol" panose="05050102010706020507" pitchFamily="18" charset="2"/>
              <a:buChar char="-"/>
              <a:defRPr sz="1400" b="0"/>
            </a:lvl6pPr>
            <a:lvl7pPr marL="0" indent="0" algn="l">
              <a:lnSpc>
                <a:spcPct val="100000"/>
              </a:lnSpc>
              <a:spcAft>
                <a:spcPts val="600"/>
              </a:spcAft>
              <a:buNone/>
              <a:defRPr sz="1400" b="0"/>
            </a:lvl7pPr>
            <a:lvl8pPr marL="270000" indent="-270000" algn="l">
              <a:lnSpc>
                <a:spcPct val="100000"/>
              </a:lnSpc>
              <a:spcAft>
                <a:spcPts val="1600"/>
              </a:spcAft>
              <a:buFont typeface="Symbol" panose="05050102010706020507" pitchFamily="18" charset="2"/>
              <a:buChar char="-"/>
              <a:defRPr sz="1400"/>
            </a:lvl8pPr>
            <a:lvl9pPr>
              <a:lnSpc>
                <a:spcPct val="100000"/>
              </a:lnSpc>
              <a:spcAft>
                <a:spcPts val="600"/>
              </a:spcAft>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431226441"/>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1696">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Text (1:3)">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A56C73-8105-7A0C-158A-DF385A8EB7B8}"/>
              </a:ext>
            </a:extLst>
          </p:cNvPr>
          <p:cNvSpPr>
            <a:spLocks noGrp="1"/>
          </p:cNvSpPr>
          <p:nvPr>
            <p:ph type="pic" sz="quarter" idx="21"/>
          </p:nvPr>
        </p:nvSpPr>
        <p:spPr>
          <a:xfrm>
            <a:off x="288000" y="1378800"/>
            <a:ext cx="2685600" cy="4903200"/>
          </a:xfrm>
          <a:custGeom>
            <a:avLst/>
            <a:gdLst>
              <a:gd name="connsiteX0" fmla="*/ 283189 w 2685600"/>
              <a:gd name="connsiteY0" fmla="*/ 0 h 4903200"/>
              <a:gd name="connsiteX1" fmla="*/ 2403886 w 2685600"/>
              <a:gd name="connsiteY1" fmla="*/ 0 h 4903200"/>
              <a:gd name="connsiteX2" fmla="*/ 2681321 w 2685600"/>
              <a:gd name="connsiteY2" fmla="*/ 226255 h 4903200"/>
              <a:gd name="connsiteX3" fmla="*/ 2685600 w 2685600"/>
              <a:gd name="connsiteY3" fmla="*/ 268721 h 4903200"/>
              <a:gd name="connsiteX4" fmla="*/ 2685600 w 2685600"/>
              <a:gd name="connsiteY4" fmla="*/ 4634480 h 4903200"/>
              <a:gd name="connsiteX5" fmla="*/ 2681321 w 2685600"/>
              <a:gd name="connsiteY5" fmla="*/ 4676946 h 4903200"/>
              <a:gd name="connsiteX6" fmla="*/ 2514115 w 2685600"/>
              <a:gd name="connsiteY6" fmla="*/ 4880933 h 4903200"/>
              <a:gd name="connsiteX7" fmla="*/ 2403891 w 2685600"/>
              <a:gd name="connsiteY7" fmla="*/ 4903200 h 4903200"/>
              <a:gd name="connsiteX8" fmla="*/ 283184 w 2685600"/>
              <a:gd name="connsiteY8" fmla="*/ 4903200 h 4903200"/>
              <a:gd name="connsiteX9" fmla="*/ 172960 w 2685600"/>
              <a:gd name="connsiteY9" fmla="*/ 4880933 h 4903200"/>
              <a:gd name="connsiteX10" fmla="*/ 0 w 2685600"/>
              <a:gd name="connsiteY10" fmla="*/ 4619840 h 4903200"/>
              <a:gd name="connsiteX11" fmla="*/ 0 w 2685600"/>
              <a:gd name="connsiteY11" fmla="*/ 283361 h 4903200"/>
              <a:gd name="connsiteX12" fmla="*/ 283189 w 2685600"/>
              <a:gd name="connsiteY12" fmla="*/ 0 h 49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600" h="4903200">
                <a:moveTo>
                  <a:pt x="283189" y="0"/>
                </a:moveTo>
                <a:lnTo>
                  <a:pt x="2403886" y="0"/>
                </a:lnTo>
                <a:cubicBezTo>
                  <a:pt x="2540734" y="0"/>
                  <a:pt x="2654915" y="97134"/>
                  <a:pt x="2681321" y="226255"/>
                </a:cubicBezTo>
                <a:lnTo>
                  <a:pt x="2685600" y="268721"/>
                </a:lnTo>
                <a:lnTo>
                  <a:pt x="2685600" y="4634480"/>
                </a:lnTo>
                <a:lnTo>
                  <a:pt x="2681321" y="4676946"/>
                </a:lnTo>
                <a:cubicBezTo>
                  <a:pt x="2662459" y="4769176"/>
                  <a:pt x="2598815" y="4845085"/>
                  <a:pt x="2514115" y="4880933"/>
                </a:cubicBezTo>
                <a:lnTo>
                  <a:pt x="2403891" y="4903200"/>
                </a:lnTo>
                <a:lnTo>
                  <a:pt x="283184" y="4903200"/>
                </a:lnTo>
                <a:lnTo>
                  <a:pt x="172960" y="4880933"/>
                </a:lnTo>
                <a:cubicBezTo>
                  <a:pt x="71320" y="4837916"/>
                  <a:pt x="0" y="4737210"/>
                  <a:pt x="0" y="4619840"/>
                </a:cubicBezTo>
                <a:lnTo>
                  <a:pt x="0" y="283361"/>
                </a:lnTo>
                <a:cubicBezTo>
                  <a:pt x="0" y="126869"/>
                  <a:pt x="126791" y="0"/>
                  <a:pt x="283189" y="0"/>
                </a:cubicBezTo>
                <a:close/>
              </a:path>
            </a:pathLst>
          </a:custGeom>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3266149" y="1378800"/>
            <a:ext cx="863692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2119499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Picture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6231732"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3830627"/>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Text (2: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6E45D8-91E9-6F65-A257-0C6C537876BD}"/>
              </a:ext>
            </a:extLst>
          </p:cNvPr>
          <p:cNvSpPr>
            <a:spLocks noGrp="1"/>
          </p:cNvSpPr>
          <p:nvPr>
            <p:ph type="pic" sz="quarter" idx="21"/>
          </p:nvPr>
        </p:nvSpPr>
        <p:spPr>
          <a:xfrm>
            <a:off x="288000" y="1379538"/>
            <a:ext cx="5670418" cy="4903787"/>
          </a:xfrm>
          <a:custGeom>
            <a:avLst/>
            <a:gdLst>
              <a:gd name="connsiteX0" fmla="*/ 274367 w 5670418"/>
              <a:gd name="connsiteY0" fmla="*/ 0 h 4903787"/>
              <a:gd name="connsiteX1" fmla="*/ 5396975 w 5670418"/>
              <a:gd name="connsiteY1" fmla="*/ 0 h 4903787"/>
              <a:gd name="connsiteX2" fmla="*/ 5665768 w 5670418"/>
              <a:gd name="connsiteY2" fmla="*/ 219073 h 4903787"/>
              <a:gd name="connsiteX3" fmla="*/ 5670418 w 5670418"/>
              <a:gd name="connsiteY3" fmla="*/ 265202 h 4903787"/>
              <a:gd name="connsiteX4" fmla="*/ 5670418 w 5670418"/>
              <a:gd name="connsiteY4" fmla="*/ 4638586 h 4903787"/>
              <a:gd name="connsiteX5" fmla="*/ 5665768 w 5670418"/>
              <a:gd name="connsiteY5" fmla="*/ 4684715 h 4903787"/>
              <a:gd name="connsiteX6" fmla="*/ 5396975 w 5670418"/>
              <a:gd name="connsiteY6" fmla="*/ 4903787 h 4903787"/>
              <a:gd name="connsiteX7" fmla="*/ 274367 w 5670418"/>
              <a:gd name="connsiteY7" fmla="*/ 4903787 h 4903787"/>
              <a:gd name="connsiteX8" fmla="*/ 0 w 5670418"/>
              <a:gd name="connsiteY8" fmla="*/ 4629420 h 4903787"/>
              <a:gd name="connsiteX9" fmla="*/ 0 w 5670418"/>
              <a:gd name="connsiteY9" fmla="*/ 274367 h 4903787"/>
              <a:gd name="connsiteX10" fmla="*/ 274367 w 5670418"/>
              <a:gd name="connsiteY10" fmla="*/ 0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70418" h="4903787">
                <a:moveTo>
                  <a:pt x="274367" y="0"/>
                </a:moveTo>
                <a:lnTo>
                  <a:pt x="5396975" y="0"/>
                </a:lnTo>
                <a:cubicBezTo>
                  <a:pt x="5529563" y="0"/>
                  <a:pt x="5640184" y="94048"/>
                  <a:pt x="5665768" y="219073"/>
                </a:cubicBezTo>
                <a:lnTo>
                  <a:pt x="5670418" y="265202"/>
                </a:lnTo>
                <a:lnTo>
                  <a:pt x="5670418" y="4638586"/>
                </a:lnTo>
                <a:lnTo>
                  <a:pt x="5665768" y="4684715"/>
                </a:lnTo>
                <a:cubicBezTo>
                  <a:pt x="5640184" y="4809739"/>
                  <a:pt x="5529563" y="4903787"/>
                  <a:pt x="5396975" y="4903787"/>
                </a:cubicBezTo>
                <a:lnTo>
                  <a:pt x="274367" y="4903787"/>
                </a:lnTo>
                <a:cubicBezTo>
                  <a:pt x="122838" y="4903787"/>
                  <a:pt x="0" y="4780949"/>
                  <a:pt x="0" y="4629420"/>
                </a:cubicBezTo>
                <a:lnTo>
                  <a:pt x="0" y="274367"/>
                </a:lnTo>
                <a:cubicBezTo>
                  <a:pt x="0" y="122838"/>
                  <a:pt x="122838" y="0"/>
                  <a:pt x="274367" y="0"/>
                </a:cubicBezTo>
                <a:close/>
              </a:path>
            </a:pathLst>
          </a:custGeom>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6231600" y="1378800"/>
            <a:ext cx="5671475"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42736900"/>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3915">
          <p15:clr>
            <a:srgbClr val="FFC000"/>
          </p15:clr>
        </p15:guide>
        <p15:guide id="4" pos="3764">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Picture (1: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2880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3D9C72D0-9C75-B7FA-B88A-327B8440D377}"/>
              </a:ext>
            </a:extLst>
          </p:cNvPr>
          <p:cNvSpPr>
            <a:spLocks noGrp="1"/>
          </p:cNvSpPr>
          <p:nvPr>
            <p:ph type="pic" sz="quarter" idx="23"/>
          </p:nvPr>
        </p:nvSpPr>
        <p:spPr>
          <a:xfrm>
            <a:off x="3265200"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049462534"/>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2055">
          <p15:clr>
            <a:srgbClr val="FFC000"/>
          </p15:clr>
        </p15:guide>
        <p15:guide id="4" pos="1873">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Text (3: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6" name="Text Placeholder 5">
            <a:extLst>
              <a:ext uri="{FF2B5EF4-FFF2-40B4-BE49-F238E27FC236}">
                <a16:creationId xmlns:a16="http://schemas.microsoft.com/office/drawing/2014/main" id="{05479C8E-54D1-DECA-A366-AC1F55D9AAA9}"/>
              </a:ext>
            </a:extLst>
          </p:cNvPr>
          <p:cNvSpPr>
            <a:spLocks noGrp="1"/>
          </p:cNvSpPr>
          <p:nvPr>
            <p:ph type="body" sz="quarter" idx="20"/>
          </p:nvPr>
        </p:nvSpPr>
        <p:spPr>
          <a:xfrm>
            <a:off x="9219600" y="1378800"/>
            <a:ext cx="2685600" cy="490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9">
            <a:extLst>
              <a:ext uri="{FF2B5EF4-FFF2-40B4-BE49-F238E27FC236}">
                <a16:creationId xmlns:a16="http://schemas.microsoft.com/office/drawing/2014/main" id="{FEE23C52-6DAD-95DC-ED98-591B9334BBEE}"/>
              </a:ext>
            </a:extLst>
          </p:cNvPr>
          <p:cNvSpPr>
            <a:spLocks noGrp="1"/>
          </p:cNvSpPr>
          <p:nvPr>
            <p:ph type="pic" sz="quarter" idx="21"/>
          </p:nvPr>
        </p:nvSpPr>
        <p:spPr>
          <a:xfrm>
            <a:off x="287338" y="1379538"/>
            <a:ext cx="8637587" cy="4903049"/>
          </a:xfrm>
          <a:custGeom>
            <a:avLst/>
            <a:gdLst>
              <a:gd name="connsiteX0" fmla="*/ 267045 w 8637587"/>
              <a:gd name="connsiteY0" fmla="*/ 0 h 4903049"/>
              <a:gd name="connsiteX1" fmla="*/ 8370541 w 8637587"/>
              <a:gd name="connsiteY1" fmla="*/ 0 h 4903049"/>
              <a:gd name="connsiteX2" fmla="*/ 8418515 w 8637587"/>
              <a:gd name="connsiteY2" fmla="*/ 4836 h 4903049"/>
              <a:gd name="connsiteX3" fmla="*/ 8637587 w 8637587"/>
              <a:gd name="connsiteY3" fmla="*/ 273629 h 4903049"/>
              <a:gd name="connsiteX4" fmla="*/ 8637587 w 8637587"/>
              <a:gd name="connsiteY4" fmla="*/ 4628682 h 4903049"/>
              <a:gd name="connsiteX5" fmla="*/ 8363220 w 8637587"/>
              <a:gd name="connsiteY5" fmla="*/ 4903049 h 4903049"/>
              <a:gd name="connsiteX6" fmla="*/ 5396974 w 8637587"/>
              <a:gd name="connsiteY6" fmla="*/ 4903049 h 4903049"/>
              <a:gd name="connsiteX7" fmla="*/ 3240612 w 8637587"/>
              <a:gd name="connsiteY7" fmla="*/ 4903049 h 4903049"/>
              <a:gd name="connsiteX8" fmla="*/ 274366 w 8637587"/>
              <a:gd name="connsiteY8" fmla="*/ 4903049 h 4903049"/>
              <a:gd name="connsiteX9" fmla="*/ 21560 w 8637587"/>
              <a:gd name="connsiteY9" fmla="*/ 4735478 h 4903049"/>
              <a:gd name="connsiteX10" fmla="*/ 0 w 8637587"/>
              <a:gd name="connsiteY10" fmla="*/ 4628687 h 4903049"/>
              <a:gd name="connsiteX11" fmla="*/ 0 w 8637587"/>
              <a:gd name="connsiteY11" fmla="*/ 273625 h 4903049"/>
              <a:gd name="connsiteX12" fmla="*/ 21560 w 8637587"/>
              <a:gd name="connsiteY12" fmla="*/ 166833 h 4903049"/>
              <a:gd name="connsiteX13" fmla="*/ 219071 w 8637587"/>
              <a:gd name="connsiteY13" fmla="*/ 4836 h 49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37587" h="4903049">
                <a:moveTo>
                  <a:pt x="267045" y="0"/>
                </a:moveTo>
                <a:lnTo>
                  <a:pt x="8370541" y="0"/>
                </a:lnTo>
                <a:lnTo>
                  <a:pt x="8418515" y="4836"/>
                </a:lnTo>
                <a:cubicBezTo>
                  <a:pt x="8543539" y="30420"/>
                  <a:pt x="8637587" y="141041"/>
                  <a:pt x="8637587" y="273629"/>
                </a:cubicBezTo>
                <a:lnTo>
                  <a:pt x="8637587" y="4628682"/>
                </a:lnTo>
                <a:cubicBezTo>
                  <a:pt x="8637587" y="4780211"/>
                  <a:pt x="8514749" y="4903049"/>
                  <a:pt x="8363220" y="4903049"/>
                </a:cubicBezTo>
                <a:lnTo>
                  <a:pt x="5396974" y="4903049"/>
                </a:lnTo>
                <a:lnTo>
                  <a:pt x="3240612" y="4903049"/>
                </a:lnTo>
                <a:lnTo>
                  <a:pt x="274366" y="4903049"/>
                </a:lnTo>
                <a:cubicBezTo>
                  <a:pt x="160719" y="4903049"/>
                  <a:pt x="63211" y="4833953"/>
                  <a:pt x="21560" y="4735478"/>
                </a:cubicBezTo>
                <a:lnTo>
                  <a:pt x="0" y="4628687"/>
                </a:lnTo>
                <a:lnTo>
                  <a:pt x="0" y="273625"/>
                </a:lnTo>
                <a:lnTo>
                  <a:pt x="21560" y="166833"/>
                </a:lnTo>
                <a:cubicBezTo>
                  <a:pt x="56270" y="84771"/>
                  <a:pt x="129768" y="23110"/>
                  <a:pt x="219071" y="4836"/>
                </a:cubicBezTo>
                <a:close/>
              </a:path>
            </a:pathLst>
          </a:custGeom>
        </p:spPr>
        <p:txBody>
          <a:bodyPr wrap="square">
            <a:noAutofit/>
          </a:bodyPr>
          <a:lstStyle/>
          <a:p>
            <a:r>
              <a:rPr lang="en-US"/>
              <a:t>Click icon to add picture</a:t>
            </a:r>
            <a:endParaRPr lang="en-GB" dirty="0"/>
          </a:p>
        </p:txBody>
      </p:sp>
    </p:spTree>
    <p:extLst>
      <p:ext uri="{BB962C8B-B14F-4D97-AF65-F5344CB8AC3E}">
        <p14:creationId xmlns:p14="http://schemas.microsoft.com/office/powerpoint/2010/main" val="1267587133"/>
      </p:ext>
    </p:extLst>
  </p:cSld>
  <p:clrMapOvr>
    <a:masterClrMapping/>
  </p:clrMapOvr>
  <p:extLst>
    <p:ext uri="{DCECCB84-F9BA-43D5-87BE-67443E8EF086}">
      <p15:sldGuideLst xmlns:p15="http://schemas.microsoft.com/office/powerpoint/2012/main">
        <p15:guide id="1" pos="5808">
          <p15:clr>
            <a:srgbClr val="FFC000"/>
          </p15:clr>
        </p15:guide>
        <p15:guide id="2" pos="5627">
          <p15:clr>
            <a:srgbClr val="FFC000"/>
          </p15:clr>
        </p15:guide>
        <p15:guide id="3" orient="horz" pos="3958">
          <p15:clr>
            <a:srgbClr val="FFC000"/>
          </p15:clr>
        </p15:guide>
        <p15:guide id="4" orient="horz" pos="865">
          <p15:clr>
            <a:srgbClr val="FFC000"/>
          </p15:clr>
        </p15:guide>
        <p15:guide id="5" pos="7500">
          <p15:clr>
            <a:srgbClr val="FFC000"/>
          </p15:clr>
        </p15:guide>
        <p15:guide id="6" pos="181">
          <p15:clr>
            <a:srgbClr val="FFC000"/>
          </p15:clr>
        </p15:guide>
        <p15:guide id="7" orient="horz" pos="4142">
          <p15:clr>
            <a:srgbClr val="FFC000"/>
          </p15:clr>
        </p15:guide>
        <p15:guide id="8" orient="horz" pos="169">
          <p15:clr>
            <a:srgbClr val="FFC00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full widt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8826242A-030E-5D43-634F-5C7288B6C21C}"/>
              </a:ext>
            </a:extLst>
          </p:cNvPr>
          <p:cNvSpPr>
            <a:spLocks noGrp="1"/>
          </p:cNvSpPr>
          <p:nvPr>
            <p:ph type="ftr" sz="quarter" idx="18"/>
          </p:nvPr>
        </p:nvSpPr>
        <p:spPr/>
        <p:txBody>
          <a:bodyPr/>
          <a:lstStyle/>
          <a:p>
            <a:endParaRPr lang="en-GB" noProof="0" dirty="0"/>
          </a:p>
        </p:txBody>
      </p:sp>
      <p:sp>
        <p:nvSpPr>
          <p:cNvPr id="11" name="Slide Number Placeholder 10">
            <a:extLst>
              <a:ext uri="{FF2B5EF4-FFF2-40B4-BE49-F238E27FC236}">
                <a16:creationId xmlns:a16="http://schemas.microsoft.com/office/drawing/2014/main" id="{126D77A2-9A75-87CB-F02E-A43C0C3EE7D3}"/>
              </a:ext>
            </a:extLst>
          </p:cNvPr>
          <p:cNvSpPr>
            <a:spLocks noGrp="1"/>
          </p:cNvSpPr>
          <p:nvPr>
            <p:ph type="sldNum" sz="quarter" idx="19"/>
          </p:nvPr>
        </p:nvSpPr>
        <p:spPr/>
        <p:txBody>
          <a:bodyPr/>
          <a:lstStyle/>
          <a:p>
            <a:fld id="{9A0F3412-00EB-454F-952B-1EB5D3D69307}" type="slidenum">
              <a:rPr lang="en-GB" noProof="0" smtClean="0"/>
              <a:pPr/>
              <a:t>‹Nº›</a:t>
            </a:fld>
            <a:endParaRPr lang="en-GB" noProof="0" dirty="0"/>
          </a:p>
        </p:txBody>
      </p:sp>
      <p:sp>
        <p:nvSpPr>
          <p:cNvPr id="5" name="Picture Placeholder 4">
            <a:extLst>
              <a:ext uri="{FF2B5EF4-FFF2-40B4-BE49-F238E27FC236}">
                <a16:creationId xmlns:a16="http://schemas.microsoft.com/office/drawing/2014/main" id="{84F0F322-EA25-ACAE-609C-DC51DE703108}"/>
              </a:ext>
            </a:extLst>
          </p:cNvPr>
          <p:cNvSpPr>
            <a:spLocks noGrp="1"/>
          </p:cNvSpPr>
          <p:nvPr>
            <p:ph type="pic" sz="quarter" idx="22"/>
          </p:nvPr>
        </p:nvSpPr>
        <p:spPr>
          <a:xfrm>
            <a:off x="287337" y="1378800"/>
            <a:ext cx="11615736" cy="4903787"/>
          </a:xfrm>
          <a:custGeom>
            <a:avLst/>
            <a:gdLst>
              <a:gd name="connsiteX0" fmla="*/ 3245194 w 11615736"/>
              <a:gd name="connsiteY0" fmla="*/ 0 h 4903787"/>
              <a:gd name="connsiteX1" fmla="*/ 11348690 w 11615736"/>
              <a:gd name="connsiteY1" fmla="*/ 0 h 4903787"/>
              <a:gd name="connsiteX2" fmla="*/ 11396664 w 11615736"/>
              <a:gd name="connsiteY2" fmla="*/ 4836 h 4903787"/>
              <a:gd name="connsiteX3" fmla="*/ 11615736 w 11615736"/>
              <a:gd name="connsiteY3" fmla="*/ 273629 h 4903787"/>
              <a:gd name="connsiteX4" fmla="*/ 11615736 w 11615736"/>
              <a:gd name="connsiteY4" fmla="*/ 4628682 h 4903787"/>
              <a:gd name="connsiteX5" fmla="*/ 11341369 w 11615736"/>
              <a:gd name="connsiteY5" fmla="*/ 4903049 h 4903787"/>
              <a:gd name="connsiteX6" fmla="*/ 8375123 w 11615736"/>
              <a:gd name="connsiteY6" fmla="*/ 4903049 h 4903787"/>
              <a:gd name="connsiteX7" fmla="*/ 8370541 w 11615736"/>
              <a:gd name="connsiteY7" fmla="*/ 4903049 h 4903787"/>
              <a:gd name="connsiteX8" fmla="*/ 8363220 w 11615736"/>
              <a:gd name="connsiteY8" fmla="*/ 4903787 h 4903787"/>
              <a:gd name="connsiteX9" fmla="*/ 5396974 w 11615736"/>
              <a:gd name="connsiteY9" fmla="*/ 4903787 h 4903787"/>
              <a:gd name="connsiteX10" fmla="*/ 3240612 w 11615736"/>
              <a:gd name="connsiteY10" fmla="*/ 4903787 h 4903787"/>
              <a:gd name="connsiteX11" fmla="*/ 274366 w 11615736"/>
              <a:gd name="connsiteY11" fmla="*/ 4903787 h 4903787"/>
              <a:gd name="connsiteX12" fmla="*/ 21560 w 11615736"/>
              <a:gd name="connsiteY12" fmla="*/ 4736216 h 4903787"/>
              <a:gd name="connsiteX13" fmla="*/ 0 w 11615736"/>
              <a:gd name="connsiteY13" fmla="*/ 4629425 h 4903787"/>
              <a:gd name="connsiteX14" fmla="*/ 0 w 11615736"/>
              <a:gd name="connsiteY14" fmla="*/ 274363 h 4903787"/>
              <a:gd name="connsiteX15" fmla="*/ 21560 w 11615736"/>
              <a:gd name="connsiteY15" fmla="*/ 167571 h 4903787"/>
              <a:gd name="connsiteX16" fmla="*/ 219071 w 11615736"/>
              <a:gd name="connsiteY16" fmla="*/ 5574 h 4903787"/>
              <a:gd name="connsiteX17" fmla="*/ 267045 w 11615736"/>
              <a:gd name="connsiteY17" fmla="*/ 738 h 4903787"/>
              <a:gd name="connsiteX18" fmla="*/ 3237874 w 11615736"/>
              <a:gd name="connsiteY18" fmla="*/ 738 h 49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15736" h="4903787">
                <a:moveTo>
                  <a:pt x="3245194" y="0"/>
                </a:moveTo>
                <a:lnTo>
                  <a:pt x="11348690" y="0"/>
                </a:lnTo>
                <a:lnTo>
                  <a:pt x="11396664" y="4836"/>
                </a:lnTo>
                <a:cubicBezTo>
                  <a:pt x="11521688" y="30420"/>
                  <a:pt x="11615736" y="141041"/>
                  <a:pt x="11615736" y="273629"/>
                </a:cubicBezTo>
                <a:lnTo>
                  <a:pt x="11615736" y="4628682"/>
                </a:lnTo>
                <a:cubicBezTo>
                  <a:pt x="11615736" y="4780211"/>
                  <a:pt x="11492898" y="4903049"/>
                  <a:pt x="11341369" y="4903049"/>
                </a:cubicBezTo>
                <a:lnTo>
                  <a:pt x="8375123" y="4903049"/>
                </a:lnTo>
                <a:lnTo>
                  <a:pt x="8370541" y="4903049"/>
                </a:lnTo>
                <a:lnTo>
                  <a:pt x="8363220" y="4903787"/>
                </a:lnTo>
                <a:lnTo>
                  <a:pt x="5396974" y="4903787"/>
                </a:lnTo>
                <a:lnTo>
                  <a:pt x="3240612" y="4903787"/>
                </a:lnTo>
                <a:lnTo>
                  <a:pt x="274366" y="4903787"/>
                </a:lnTo>
                <a:cubicBezTo>
                  <a:pt x="160719" y="4903787"/>
                  <a:pt x="63211" y="4834691"/>
                  <a:pt x="21560" y="4736216"/>
                </a:cubicBezTo>
                <a:lnTo>
                  <a:pt x="0" y="4629425"/>
                </a:lnTo>
                <a:lnTo>
                  <a:pt x="0" y="274363"/>
                </a:lnTo>
                <a:lnTo>
                  <a:pt x="21560" y="167571"/>
                </a:lnTo>
                <a:cubicBezTo>
                  <a:pt x="56270" y="85509"/>
                  <a:pt x="129768" y="23848"/>
                  <a:pt x="219071" y="5574"/>
                </a:cubicBezTo>
                <a:lnTo>
                  <a:pt x="267045" y="738"/>
                </a:lnTo>
                <a:lnTo>
                  <a:pt x="3237874" y="738"/>
                </a:lnTo>
                <a:close/>
              </a:path>
            </a:pathLst>
          </a:custGeom>
        </p:spPr>
        <p:txBody>
          <a:bodyPr wrap="square">
            <a:noAutofit/>
          </a:bodyPr>
          <a:lstStyle/>
          <a:p>
            <a:r>
              <a:rPr lang="en-US"/>
              <a:t>Click icon to add picture</a:t>
            </a:r>
            <a:endParaRPr lang="en-GB" dirty="0"/>
          </a:p>
        </p:txBody>
      </p:sp>
    </p:spTree>
    <p:extLst>
      <p:ext uri="{BB962C8B-B14F-4D97-AF65-F5344CB8AC3E}">
        <p14:creationId xmlns:p14="http://schemas.microsoft.com/office/powerpoint/2010/main" val="145318032"/>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arg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9AFD43-5FF5-07CF-598F-C6154BEE6A91}"/>
              </a:ext>
            </a:extLst>
          </p:cNvPr>
          <p:cNvSpPr>
            <a:spLocks noGrp="1"/>
          </p:cNvSpPr>
          <p:nvPr>
            <p:ph type="pic" sz="quarter" idx="23"/>
          </p:nvPr>
        </p:nvSpPr>
        <p:spPr>
          <a:xfrm>
            <a:off x="0" y="0"/>
            <a:ext cx="12192000" cy="6858000"/>
          </a:xfrm>
        </p:spPr>
        <p:txBody>
          <a:bodyPr/>
          <a:lstStyle/>
          <a:p>
            <a:r>
              <a:rPr lang="en-US"/>
              <a:t>Click icon to add picture</a:t>
            </a:r>
            <a:endParaRPr lang="en-GB" dirty="0"/>
          </a:p>
        </p:txBody>
      </p:sp>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spTree>
    <p:extLst>
      <p:ext uri="{BB962C8B-B14F-4D97-AF65-F5344CB8AC3E}">
        <p14:creationId xmlns:p14="http://schemas.microsoft.com/office/powerpoint/2010/main" val="2932447723"/>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Contents with 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13">
            <a:extLst>
              <a:ext uri="{FF2B5EF4-FFF2-40B4-BE49-F238E27FC236}">
                <a16:creationId xmlns:a16="http://schemas.microsoft.com/office/drawing/2014/main" id="{9BC6E3AB-0636-57B2-4C36-AC798D6B0659}"/>
              </a:ext>
            </a:extLst>
          </p:cNvPr>
          <p:cNvSpPr>
            <a:spLocks noGrp="1"/>
          </p:cNvSpPr>
          <p:nvPr>
            <p:ph type="body" sz="quarter" idx="18"/>
          </p:nvPr>
        </p:nvSpPr>
        <p:spPr>
          <a:xfrm>
            <a:off x="2880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1" name="Text Placeholder 20">
            <a:extLst>
              <a:ext uri="{FF2B5EF4-FFF2-40B4-BE49-F238E27FC236}">
                <a16:creationId xmlns:a16="http://schemas.microsoft.com/office/drawing/2014/main" id="{A5A7C009-966B-009A-E119-D98EDBB9609A}"/>
              </a:ext>
            </a:extLst>
          </p:cNvPr>
          <p:cNvSpPr>
            <a:spLocks noGrp="1"/>
          </p:cNvSpPr>
          <p:nvPr>
            <p:ph type="body" sz="quarter" idx="22"/>
          </p:nvPr>
        </p:nvSpPr>
        <p:spPr>
          <a:xfrm>
            <a:off x="2880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20">
            <a:extLst>
              <a:ext uri="{FF2B5EF4-FFF2-40B4-BE49-F238E27FC236}">
                <a16:creationId xmlns:a16="http://schemas.microsoft.com/office/drawing/2014/main" id="{7FCEF823-670B-2AD2-6E20-55B1F88A48E7}"/>
              </a:ext>
            </a:extLst>
          </p:cNvPr>
          <p:cNvSpPr>
            <a:spLocks noGrp="1"/>
          </p:cNvSpPr>
          <p:nvPr>
            <p:ph type="body" sz="quarter" idx="23"/>
          </p:nvPr>
        </p:nvSpPr>
        <p:spPr>
          <a:xfrm>
            <a:off x="32688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0">
            <a:extLst>
              <a:ext uri="{FF2B5EF4-FFF2-40B4-BE49-F238E27FC236}">
                <a16:creationId xmlns:a16="http://schemas.microsoft.com/office/drawing/2014/main" id="{2B4FBDE2-69A3-83BC-90B8-D68A711F9E74}"/>
              </a:ext>
            </a:extLst>
          </p:cNvPr>
          <p:cNvSpPr>
            <a:spLocks noGrp="1"/>
          </p:cNvSpPr>
          <p:nvPr>
            <p:ph type="body" sz="quarter" idx="24"/>
          </p:nvPr>
        </p:nvSpPr>
        <p:spPr>
          <a:xfrm>
            <a:off x="62352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20">
            <a:extLst>
              <a:ext uri="{FF2B5EF4-FFF2-40B4-BE49-F238E27FC236}">
                <a16:creationId xmlns:a16="http://schemas.microsoft.com/office/drawing/2014/main" id="{070E2F6E-F2A4-9A59-115B-08EEEAF78B03}"/>
              </a:ext>
            </a:extLst>
          </p:cNvPr>
          <p:cNvSpPr>
            <a:spLocks noGrp="1"/>
          </p:cNvSpPr>
          <p:nvPr>
            <p:ph type="body" sz="quarter" idx="25"/>
          </p:nvPr>
        </p:nvSpPr>
        <p:spPr>
          <a:xfrm>
            <a:off x="9219600" y="1774800"/>
            <a:ext cx="2685600" cy="4507200"/>
          </a:xfrm>
        </p:spPr>
        <p:txBody>
          <a:bodyPr tIns="568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13">
            <a:extLst>
              <a:ext uri="{FF2B5EF4-FFF2-40B4-BE49-F238E27FC236}">
                <a16:creationId xmlns:a16="http://schemas.microsoft.com/office/drawing/2014/main" id="{93BBFB66-7482-7164-A64A-968F6356FA57}"/>
              </a:ext>
            </a:extLst>
          </p:cNvPr>
          <p:cNvSpPr>
            <a:spLocks noGrp="1"/>
          </p:cNvSpPr>
          <p:nvPr>
            <p:ph type="body" sz="quarter" idx="26"/>
          </p:nvPr>
        </p:nvSpPr>
        <p:spPr>
          <a:xfrm>
            <a:off x="3270275"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7" name="Text Placeholder 13">
            <a:extLst>
              <a:ext uri="{FF2B5EF4-FFF2-40B4-BE49-F238E27FC236}">
                <a16:creationId xmlns:a16="http://schemas.microsoft.com/office/drawing/2014/main" id="{31F66869-8715-1AC4-BB36-53CF23C5B2E2}"/>
              </a:ext>
            </a:extLst>
          </p:cNvPr>
          <p:cNvSpPr>
            <a:spLocks noGrp="1"/>
          </p:cNvSpPr>
          <p:nvPr>
            <p:ph type="body" sz="quarter" idx="27"/>
          </p:nvPr>
        </p:nvSpPr>
        <p:spPr>
          <a:xfrm>
            <a:off x="62352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28" name="Text Placeholder 13">
            <a:extLst>
              <a:ext uri="{FF2B5EF4-FFF2-40B4-BE49-F238E27FC236}">
                <a16:creationId xmlns:a16="http://schemas.microsoft.com/office/drawing/2014/main" id="{C197165B-607C-959F-F199-34120D434673}"/>
              </a:ext>
            </a:extLst>
          </p:cNvPr>
          <p:cNvSpPr>
            <a:spLocks noGrp="1"/>
          </p:cNvSpPr>
          <p:nvPr>
            <p:ph type="body" sz="quarter" idx="28"/>
          </p:nvPr>
        </p:nvSpPr>
        <p:spPr>
          <a:xfrm>
            <a:off x="9219600" y="1378800"/>
            <a:ext cx="2685600" cy="393566"/>
          </a:xfrm>
          <a:blipFill dpi="0" rotWithShape="1">
            <a:blip r:embed="rId2">
              <a:extLst>
                <a:ext uri="{96DAC541-7B7A-43D3-8B79-37D633B846F1}">
                  <asvg:svgBlip xmlns:asvg="http://schemas.microsoft.com/office/drawing/2016/SVG/main" r:embed="rId3"/>
                </a:ext>
              </a:extLst>
            </a:blip>
            <a:srcRect/>
            <a:stretch>
              <a:fillRect l="-1000" t="94000" r="-1000"/>
            </a:stretch>
          </a:blipFill>
        </p:spPr>
        <p:txBody>
          <a:bodyPr tIns="0" bIns="176400">
            <a:spAutoFit/>
          </a:bodyPr>
          <a:lstStyle>
            <a:lvl1pPr>
              <a:spcAft>
                <a:spcPts val="0"/>
              </a:spcAft>
              <a:defRPr>
                <a:solidFill>
                  <a:schemeClr val="tx2"/>
                </a:solidFill>
              </a:defRPr>
            </a:lvl1pPr>
            <a:lvl2pPr marL="0" indent="0">
              <a:spcAft>
                <a:spcPts val="0"/>
              </a:spcAft>
              <a:buNone/>
              <a:defRPr sz="1800" b="1"/>
            </a:lvl2pPr>
            <a:lvl3pPr marL="0" indent="0">
              <a:spcAft>
                <a:spcPts val="0"/>
              </a:spcAft>
              <a:buNone/>
              <a:defRPr b="1"/>
            </a:lvl3pPr>
            <a:lvl4pPr marL="0" indent="0">
              <a:spcAft>
                <a:spcPts val="0"/>
              </a:spcAft>
              <a:buFont typeface="Arial" panose="020B0604020202020204" pitchFamily="34" charset="0"/>
              <a:buNone/>
              <a:defRPr/>
            </a:lvl4pPr>
            <a:lvl5pPr marL="0" indent="0">
              <a:spcAft>
                <a:spcPts val="0"/>
              </a:spcAft>
              <a:buNone/>
              <a:defRPr sz="1400" b="1"/>
            </a:lvl5pPr>
          </a:lstStyle>
          <a:p>
            <a:pPr lvl="0"/>
            <a:r>
              <a:rPr lang="en-US"/>
              <a:t>Click to edit Master text styles</a:t>
            </a:r>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3747701245"/>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5806">
          <p15:clr>
            <a:srgbClr val="FFC000"/>
          </p15:clr>
        </p15:guide>
        <p15:guide id="4" pos="5617">
          <p15:clr>
            <a:srgbClr val="FFC000"/>
          </p15:clr>
        </p15:guide>
        <p15:guide id="5" pos="3912">
          <p15:clr>
            <a:srgbClr val="FFC000"/>
          </p15:clr>
        </p15:guide>
        <p15:guide id="6" pos="3754">
          <p15:clr>
            <a:srgbClr val="FFC000"/>
          </p15:clr>
        </p15:guide>
        <p15:guide id="7" pos="2055">
          <p15:clr>
            <a:srgbClr val="FFC000"/>
          </p15:clr>
        </p15:guide>
        <p15:guide id="8" pos="1873">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ight Contents with Deposit">
    <p:spTree>
      <p:nvGrpSpPr>
        <p:cNvPr id="1" name=""/>
        <p:cNvGrpSpPr/>
        <p:nvPr/>
      </p:nvGrpSpPr>
      <p:grpSpPr>
        <a:xfrm>
          <a:off x="0" y="0"/>
          <a:ext cx="0" cy="0"/>
          <a:chOff x="0" y="0"/>
          <a:chExt cx="0" cy="0"/>
        </a:xfrm>
      </p:grpSpPr>
      <p:sp>
        <p:nvSpPr>
          <p:cNvPr id="54" name="Text Placeholder 53">
            <a:extLst>
              <a:ext uri="{FF2B5EF4-FFF2-40B4-BE49-F238E27FC236}">
                <a16:creationId xmlns:a16="http://schemas.microsoft.com/office/drawing/2014/main" id="{C1E507DF-D53B-3BE4-1A00-07C74C890A50}"/>
              </a:ext>
            </a:extLst>
          </p:cNvPr>
          <p:cNvSpPr>
            <a:spLocks noGrp="1"/>
          </p:cNvSpPr>
          <p:nvPr>
            <p:ph type="body" sz="quarter" idx="45"/>
          </p:nvPr>
        </p:nvSpPr>
        <p:spPr>
          <a:xfrm>
            <a:off x="288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bg2"/>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20" name="Picture Placeholder 19">
            <a:extLst>
              <a:ext uri="{FF2B5EF4-FFF2-40B4-BE49-F238E27FC236}">
                <a16:creationId xmlns:a16="http://schemas.microsoft.com/office/drawing/2014/main" id="{B81DD2EF-6E62-0069-4582-4CFA7F89136A}"/>
              </a:ext>
            </a:extLst>
          </p:cNvPr>
          <p:cNvSpPr>
            <a:spLocks noGrp="1"/>
          </p:cNvSpPr>
          <p:nvPr>
            <p:ph type="pic" sz="quarter" idx="32"/>
          </p:nvPr>
        </p:nvSpPr>
        <p:spPr>
          <a:xfrm>
            <a:off x="288000" y="3968525"/>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5" name="Picture Placeholder 24">
            <a:extLst>
              <a:ext uri="{FF2B5EF4-FFF2-40B4-BE49-F238E27FC236}">
                <a16:creationId xmlns:a16="http://schemas.microsoft.com/office/drawing/2014/main" id="{DAA20D63-B477-B8C1-E93C-EFEB50581D3B}"/>
              </a:ext>
            </a:extLst>
          </p:cNvPr>
          <p:cNvSpPr>
            <a:spLocks noGrp="1"/>
          </p:cNvSpPr>
          <p:nvPr>
            <p:ph type="pic" sz="quarter" idx="33"/>
          </p:nvPr>
        </p:nvSpPr>
        <p:spPr>
          <a:xfrm>
            <a:off x="6231600" y="1378800"/>
            <a:ext cx="2684675" cy="2314800"/>
          </a:xfrm>
          <a:custGeom>
            <a:avLst/>
            <a:gdLst>
              <a:gd name="connsiteX0" fmla="*/ 292337 w 2684675"/>
              <a:gd name="connsiteY0" fmla="*/ 0 h 2314800"/>
              <a:gd name="connsiteX1" fmla="*/ 2391413 w 2684675"/>
              <a:gd name="connsiteY1" fmla="*/ 0 h 2314800"/>
              <a:gd name="connsiteX2" fmla="*/ 2684675 w 2684675"/>
              <a:gd name="connsiteY2" fmla="*/ 293262 h 2314800"/>
              <a:gd name="connsiteX3" fmla="*/ 2684675 w 2684675"/>
              <a:gd name="connsiteY3" fmla="*/ 2021538 h 2314800"/>
              <a:gd name="connsiteX4" fmla="*/ 2598780 w 2684675"/>
              <a:gd name="connsiteY4" fmla="*/ 2228906 h 2314800"/>
              <a:gd name="connsiteX5" fmla="*/ 2555517 w 2684675"/>
              <a:gd name="connsiteY5" fmla="*/ 2264601 h 2314800"/>
              <a:gd name="connsiteX6" fmla="*/ 2555220 w 2684675"/>
              <a:gd name="connsiteY6" fmla="*/ 2264802 h 2314800"/>
              <a:gd name="connsiteX7" fmla="*/ 2505564 w 2684675"/>
              <a:gd name="connsiteY7" fmla="*/ 2291754 h 2314800"/>
              <a:gd name="connsiteX8" fmla="*/ 2391413 w 2684675"/>
              <a:gd name="connsiteY8" fmla="*/ 2314800 h 2314800"/>
              <a:gd name="connsiteX9" fmla="*/ 292337 w 2684675"/>
              <a:gd name="connsiteY9" fmla="*/ 2314800 h 2314800"/>
              <a:gd name="connsiteX10" fmla="*/ 178187 w 2684675"/>
              <a:gd name="connsiteY10" fmla="*/ 2291754 h 2314800"/>
              <a:gd name="connsiteX11" fmla="*/ 145544 w 2684675"/>
              <a:gd name="connsiteY11" fmla="*/ 2274036 h 2314800"/>
              <a:gd name="connsiteX12" fmla="*/ 113321 w 2684675"/>
              <a:gd name="connsiteY12" fmla="*/ 2252298 h 2314800"/>
              <a:gd name="connsiteX13" fmla="*/ 84970 w 2684675"/>
              <a:gd name="connsiteY13" fmla="*/ 2228906 h 2314800"/>
              <a:gd name="connsiteX14" fmla="*/ 5033 w 2684675"/>
              <a:gd name="connsiteY14" fmla="*/ 2080641 h 2314800"/>
              <a:gd name="connsiteX15" fmla="*/ 0 w 2684675"/>
              <a:gd name="connsiteY15" fmla="*/ 2030714 h 2314800"/>
              <a:gd name="connsiteX16" fmla="*/ 0 w 2684675"/>
              <a:gd name="connsiteY16" fmla="*/ 284086 h 2314800"/>
              <a:gd name="connsiteX17" fmla="*/ 5033 w 2684675"/>
              <a:gd name="connsiteY17" fmla="*/ 234160 h 2314800"/>
              <a:gd name="connsiteX18" fmla="*/ 292337 w 2684675"/>
              <a:gd name="connsiteY1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4675" h="2314800">
                <a:moveTo>
                  <a:pt x="292337" y="0"/>
                </a:moveTo>
                <a:lnTo>
                  <a:pt x="2391413" y="0"/>
                </a:lnTo>
                <a:cubicBezTo>
                  <a:pt x="2553377" y="0"/>
                  <a:pt x="2684675" y="131298"/>
                  <a:pt x="2684675" y="293262"/>
                </a:cubicBezTo>
                <a:lnTo>
                  <a:pt x="2684675" y="2021538"/>
                </a:lnTo>
                <a:cubicBezTo>
                  <a:pt x="2684675" y="2102520"/>
                  <a:pt x="2651850" y="2175836"/>
                  <a:pt x="2598780" y="2228906"/>
                </a:cubicBezTo>
                <a:lnTo>
                  <a:pt x="2555517" y="2264601"/>
                </a:lnTo>
                <a:lnTo>
                  <a:pt x="2555220" y="2264802"/>
                </a:lnTo>
                <a:lnTo>
                  <a:pt x="2505564" y="2291754"/>
                </a:lnTo>
                <a:cubicBezTo>
                  <a:pt x="2470478" y="2306594"/>
                  <a:pt x="2431904" y="2314800"/>
                  <a:pt x="2391413" y="2314800"/>
                </a:cubicBezTo>
                <a:lnTo>
                  <a:pt x="292337" y="2314800"/>
                </a:lnTo>
                <a:cubicBezTo>
                  <a:pt x="251846" y="2314800"/>
                  <a:pt x="213272" y="2306594"/>
                  <a:pt x="178187" y="2291754"/>
                </a:cubicBezTo>
                <a:lnTo>
                  <a:pt x="145544" y="2274036"/>
                </a:lnTo>
                <a:lnTo>
                  <a:pt x="113321" y="2252298"/>
                </a:lnTo>
                <a:lnTo>
                  <a:pt x="84970" y="2228906"/>
                </a:lnTo>
                <a:cubicBezTo>
                  <a:pt x="45167" y="2189103"/>
                  <a:pt x="16753" y="2137913"/>
                  <a:pt x="5033" y="2080641"/>
                </a:cubicBezTo>
                <a:lnTo>
                  <a:pt x="0" y="2030714"/>
                </a:lnTo>
                <a:lnTo>
                  <a:pt x="0" y="284086"/>
                </a:lnTo>
                <a:lnTo>
                  <a:pt x="5033" y="234160"/>
                </a:lnTo>
                <a:cubicBezTo>
                  <a:pt x="32379" y="100525"/>
                  <a:pt x="150619" y="0"/>
                  <a:pt x="292337" y="0"/>
                </a:cubicBezTo>
                <a:close/>
              </a:path>
            </a:pathLst>
          </a:custGeom>
          <a:solidFill>
            <a:schemeClr val="bg1"/>
          </a:solidFill>
        </p:spPr>
        <p:txBody>
          <a:bodyPr wrap="square">
            <a:noAutofit/>
          </a:bodyPr>
          <a:lstStyle/>
          <a:p>
            <a:r>
              <a:rPr lang="en-US"/>
              <a:t>Click icon to add picture</a:t>
            </a:r>
            <a:endParaRPr lang="en-GB" dirty="0"/>
          </a:p>
        </p:txBody>
      </p:sp>
      <p:sp>
        <p:nvSpPr>
          <p:cNvPr id="55" name="Text Placeholder 54">
            <a:extLst>
              <a:ext uri="{FF2B5EF4-FFF2-40B4-BE49-F238E27FC236}">
                <a16:creationId xmlns:a16="http://schemas.microsoft.com/office/drawing/2014/main" id="{B8735F24-7570-5F03-F59D-0B5175E0FC14}"/>
              </a:ext>
            </a:extLst>
          </p:cNvPr>
          <p:cNvSpPr>
            <a:spLocks noGrp="1"/>
          </p:cNvSpPr>
          <p:nvPr>
            <p:ph type="body" sz="quarter" idx="46"/>
          </p:nvPr>
        </p:nvSpPr>
        <p:spPr>
          <a:xfrm>
            <a:off x="32688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D6DD00"/>
          </a:solidFill>
        </p:spPr>
        <p:txBody>
          <a:bodyPr wrap="square" lIns="144000" tIns="144000" rIns="144000" bIns="144000" anchor="ctr" anchorCtr="0">
            <a:noAutofit/>
          </a:bodyPr>
          <a:lstStyle>
            <a:lvl1pPr algn="ctr">
              <a:defRPr>
                <a:solidFill>
                  <a:srgbClr val="3C3E00"/>
                </a:solidFill>
              </a:defRPr>
            </a:lvl1pPr>
            <a:lvl2pPr marL="0" indent="0" algn="ctr">
              <a:spcAft>
                <a:spcPts val="600"/>
              </a:spcAft>
              <a:buNone/>
              <a:defRPr sz="2000" b="1">
                <a:solidFill>
                  <a:srgbClr val="3C3E00"/>
                </a:solidFill>
              </a:defRPr>
            </a:lvl2pPr>
            <a:lvl3pPr marL="0" indent="0" algn="ctr">
              <a:spcAft>
                <a:spcPts val="600"/>
              </a:spcAft>
              <a:buNone/>
              <a:defRPr sz="3000" b="0">
                <a:solidFill>
                  <a:srgbClr val="3C3E00"/>
                </a:solidFill>
              </a:defRPr>
            </a:lvl3pPr>
            <a:lvl4pPr marL="0" indent="0" algn="ctr">
              <a:spcAft>
                <a:spcPts val="600"/>
              </a:spcAft>
              <a:buNone/>
              <a:defRPr sz="4800">
                <a:solidFill>
                  <a:srgbClr val="3C3E00"/>
                </a:solidFill>
              </a:defRPr>
            </a:lvl4pPr>
            <a:lvl5pPr>
              <a:spcAft>
                <a:spcPts val="600"/>
              </a:spcAft>
              <a:defRPr sz="1400">
                <a:solidFill>
                  <a:srgbClr val="3C3E00"/>
                </a:solidFill>
              </a:defRPr>
            </a:lvl5pPr>
            <a:lvl6pPr>
              <a:spcAft>
                <a:spcPts val="600"/>
              </a:spcAft>
              <a:defRPr sz="1400">
                <a:solidFill>
                  <a:srgbClr val="3C3E00"/>
                </a:solidFill>
              </a:defRPr>
            </a:lvl6pPr>
            <a:lvl7pPr>
              <a:spcAft>
                <a:spcPts val="600"/>
              </a:spcAft>
              <a:defRPr sz="1400">
                <a:solidFill>
                  <a:srgbClr val="3C3E00"/>
                </a:solidFill>
              </a:defRPr>
            </a:lvl7pPr>
            <a:lvl8pPr>
              <a:spcAft>
                <a:spcPts val="600"/>
              </a:spcAft>
              <a:defRPr sz="1400">
                <a:solidFill>
                  <a:srgbClr val="3C3E00"/>
                </a:solidFill>
              </a:defRPr>
            </a:lvl8pPr>
            <a:lvl9pPr>
              <a:defRPr>
                <a:solidFill>
                  <a:srgbClr val="3C3E00"/>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6" name="Text Placeholder 55">
            <a:extLst>
              <a:ext uri="{FF2B5EF4-FFF2-40B4-BE49-F238E27FC236}">
                <a16:creationId xmlns:a16="http://schemas.microsoft.com/office/drawing/2014/main" id="{0E93F332-4FA1-F307-866F-643689147FF1}"/>
              </a:ext>
            </a:extLst>
          </p:cNvPr>
          <p:cNvSpPr>
            <a:spLocks noGrp="1"/>
          </p:cNvSpPr>
          <p:nvPr>
            <p:ph type="body" sz="quarter" idx="47"/>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F1F1F1"/>
          </a:solidFill>
        </p:spPr>
        <p:txBody>
          <a:bodyPr wrap="square" lIns="144000" tIns="144000" rIns="144000" bIns="144000" anchor="ctr" anchorCtr="0">
            <a:noAutofit/>
          </a:bodyPr>
          <a:lstStyle>
            <a:lvl1pPr algn="ctr">
              <a:defRPr/>
            </a:lvl1pPr>
            <a:lvl2pPr marL="0" indent="0" algn="ctr">
              <a:spcAft>
                <a:spcPts val="600"/>
              </a:spcAft>
              <a:buNone/>
              <a:defRPr sz="2000" b="1"/>
            </a:lvl2pPr>
            <a:lvl3pPr marL="0" indent="0" algn="ctr">
              <a:spcAft>
                <a:spcPts val="600"/>
              </a:spcAft>
              <a:buNone/>
              <a:defRPr sz="3000" b="0"/>
            </a:lvl3pPr>
            <a:lvl4pPr marL="0" indent="0" algn="ctr">
              <a:spcAft>
                <a:spcPts val="600"/>
              </a:spcAft>
              <a:buNone/>
              <a:defRPr sz="4800"/>
            </a:lvl4pPr>
            <a:lvl5pPr>
              <a:spcAft>
                <a:spcPts val="600"/>
              </a:spcAft>
              <a:defRPr sz="1400"/>
            </a:lvl5pPr>
            <a:lvl6pPr>
              <a:spcAft>
                <a:spcPts val="600"/>
              </a:spcAft>
              <a:defRPr sz="1400"/>
            </a:lvl6pPr>
            <a:lvl7pPr>
              <a:spcAft>
                <a:spcPts val="600"/>
              </a:spcAft>
              <a:defRPr sz="1400"/>
            </a:lvl7pPr>
            <a:lvl8pPr>
              <a:spcAft>
                <a:spcPts val="600"/>
              </a:spcAft>
              <a:defRPr sz="1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7" name="Text Placeholder 56">
            <a:extLst>
              <a:ext uri="{FF2B5EF4-FFF2-40B4-BE49-F238E27FC236}">
                <a16:creationId xmlns:a16="http://schemas.microsoft.com/office/drawing/2014/main" id="{70C187E0-20D0-F7FF-79B9-F04FD6912A4D}"/>
              </a:ext>
            </a:extLst>
          </p:cNvPr>
          <p:cNvSpPr>
            <a:spLocks noGrp="1"/>
          </p:cNvSpPr>
          <p:nvPr>
            <p:ph type="body" sz="quarter" idx="48"/>
          </p:nvPr>
        </p:nvSpPr>
        <p:spPr>
          <a:xfrm>
            <a:off x="32688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8" name="Text Placeholder 57">
            <a:extLst>
              <a:ext uri="{FF2B5EF4-FFF2-40B4-BE49-F238E27FC236}">
                <a16:creationId xmlns:a16="http://schemas.microsoft.com/office/drawing/2014/main" id="{1BC731CC-642E-FB66-5FD0-1285316114EF}"/>
              </a:ext>
            </a:extLst>
          </p:cNvPr>
          <p:cNvSpPr>
            <a:spLocks noGrp="1"/>
          </p:cNvSpPr>
          <p:nvPr>
            <p:ph type="body" sz="quarter" idx="49"/>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9" name="Text Placeholder 58">
            <a:extLst>
              <a:ext uri="{FF2B5EF4-FFF2-40B4-BE49-F238E27FC236}">
                <a16:creationId xmlns:a16="http://schemas.microsoft.com/office/drawing/2014/main" id="{C83C8507-E210-DECE-2D86-30260E35228F}"/>
              </a:ext>
            </a:extLst>
          </p:cNvPr>
          <p:cNvSpPr>
            <a:spLocks noGrp="1"/>
          </p:cNvSpPr>
          <p:nvPr>
            <p:ph type="body" sz="quarter" idx="50"/>
          </p:nvPr>
        </p:nvSpPr>
        <p:spPr>
          <a:xfrm>
            <a:off x="6231600" y="3968525"/>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3076230819"/>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2497">
          <p15:clr>
            <a:srgbClr val="FFC000"/>
          </p15:clr>
        </p15:guide>
        <p15:guide id="3" orient="horz" pos="3958">
          <p15:clr>
            <a:srgbClr val="FFC000"/>
          </p15:clr>
        </p15:guide>
        <p15:guide id="4" orient="horz" pos="865">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ight different Contents with Deposi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87EB98-B074-7A44-75A0-1471BA240A4A}"/>
              </a:ext>
            </a:extLst>
          </p:cNvPr>
          <p:cNvSpPr>
            <a:spLocks noGrp="1"/>
          </p:cNvSpPr>
          <p:nvPr>
            <p:ph type="pic" sz="quarter" idx="46"/>
          </p:nvPr>
        </p:nvSpPr>
        <p:spPr>
          <a:xfrm>
            <a:off x="288001" y="1379538"/>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5737" cy="612000"/>
          </a:xfrm>
        </p:spPr>
        <p:txBody>
          <a:bodyPr/>
          <a:lstStyle/>
          <a:p>
            <a:r>
              <a:rPr lang="en-US"/>
              <a:t>Click to edit Master title style</a:t>
            </a:r>
            <a:endParaRPr lang="en-GB" dirty="0"/>
          </a:p>
        </p:txBody>
      </p:sp>
      <p:sp>
        <p:nvSpPr>
          <p:cNvPr id="12" name="Rectangle 11">
            <a:extLst>
              <a:ext uri="{FF2B5EF4-FFF2-40B4-BE49-F238E27FC236}">
                <a16:creationId xmlns:a16="http://schemas.microsoft.com/office/drawing/2014/main" id="{5CC31BBC-6D78-8BA4-340A-09543E6DDE63}"/>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C447873D-1D25-7C76-93EE-9D4EBED20FBD}"/>
              </a:ext>
            </a:extLst>
          </p:cNvPr>
          <p:cNvSpPr>
            <a:spLocks noGrp="1"/>
          </p:cNvSpPr>
          <p:nvPr>
            <p:ph type="ftr" sz="quarter" idx="29"/>
          </p:nvPr>
        </p:nvSpPr>
        <p:spPr/>
        <p:txBody>
          <a:bodyPr/>
          <a:lstStyle/>
          <a:p>
            <a:endParaRPr lang="en-GB" noProof="0" dirty="0"/>
          </a:p>
        </p:txBody>
      </p:sp>
      <p:sp>
        <p:nvSpPr>
          <p:cNvPr id="4" name="Slide Number Placeholder 3">
            <a:extLst>
              <a:ext uri="{FF2B5EF4-FFF2-40B4-BE49-F238E27FC236}">
                <a16:creationId xmlns:a16="http://schemas.microsoft.com/office/drawing/2014/main" id="{AF068F8C-2D04-5CD5-F4F5-BD43B13A406E}"/>
              </a:ext>
            </a:extLst>
          </p:cNvPr>
          <p:cNvSpPr>
            <a:spLocks noGrp="1"/>
          </p:cNvSpPr>
          <p:nvPr>
            <p:ph type="sldNum" sz="quarter" idx="30"/>
          </p:nvPr>
        </p:nvSpPr>
        <p:spPr/>
        <p:txBody>
          <a:bodyPr/>
          <a:lstStyle/>
          <a:p>
            <a:fld id="{9A0F3412-00EB-454F-952B-1EB5D3D69307}" type="slidenum">
              <a:rPr lang="en-GB" noProof="0" smtClean="0"/>
              <a:pPr/>
              <a:t>‹Nº›</a:t>
            </a:fld>
            <a:endParaRPr lang="en-GB" noProof="0" dirty="0"/>
          </a:p>
        </p:txBody>
      </p:sp>
      <p:sp>
        <p:nvSpPr>
          <p:cNvPr id="28" name="Picture Placeholder 27">
            <a:extLst>
              <a:ext uri="{FF2B5EF4-FFF2-40B4-BE49-F238E27FC236}">
                <a16:creationId xmlns:a16="http://schemas.microsoft.com/office/drawing/2014/main" id="{D9EE9B09-12C0-5733-2DA6-5E041426680E}"/>
              </a:ext>
            </a:extLst>
          </p:cNvPr>
          <p:cNvSpPr>
            <a:spLocks noGrp="1"/>
          </p:cNvSpPr>
          <p:nvPr>
            <p:ph type="pic" sz="quarter" idx="47"/>
          </p:nvPr>
        </p:nvSpPr>
        <p:spPr>
          <a:xfrm>
            <a:off x="32688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GB" dirty="0"/>
          </a:p>
        </p:txBody>
      </p:sp>
      <p:sp>
        <p:nvSpPr>
          <p:cNvPr id="29" name="Picture Placeholder 28">
            <a:extLst>
              <a:ext uri="{FF2B5EF4-FFF2-40B4-BE49-F238E27FC236}">
                <a16:creationId xmlns:a16="http://schemas.microsoft.com/office/drawing/2014/main" id="{0732F8AC-AEB3-A27F-8C44-736695E49607}"/>
              </a:ext>
            </a:extLst>
          </p:cNvPr>
          <p:cNvSpPr>
            <a:spLocks noGrp="1"/>
          </p:cNvSpPr>
          <p:nvPr>
            <p:ph type="pic" sz="quarter" idx="48"/>
          </p:nvPr>
        </p:nvSpPr>
        <p:spPr>
          <a:xfrm>
            <a:off x="6231600" y="1378800"/>
            <a:ext cx="2684937" cy="3472902"/>
          </a:xfrm>
          <a:custGeom>
            <a:avLst/>
            <a:gdLst>
              <a:gd name="connsiteX0" fmla="*/ 281102 w 2684937"/>
              <a:gd name="connsiteY0" fmla="*/ 0 h 3472902"/>
              <a:gd name="connsiteX1" fmla="*/ 2404498 w 2684937"/>
              <a:gd name="connsiteY1" fmla="*/ 0 h 3472902"/>
              <a:gd name="connsiteX2" fmla="*/ 2679889 w 2684937"/>
              <a:gd name="connsiteY2" fmla="*/ 224450 h 3472902"/>
              <a:gd name="connsiteX3" fmla="*/ 2684937 w 2684937"/>
              <a:gd name="connsiteY3" fmla="*/ 274525 h 3472902"/>
              <a:gd name="connsiteX4" fmla="*/ 2684937 w 2684937"/>
              <a:gd name="connsiteY4" fmla="*/ 3198377 h 3472902"/>
              <a:gd name="connsiteX5" fmla="*/ 2679889 w 2684937"/>
              <a:gd name="connsiteY5" fmla="*/ 3248452 h 3472902"/>
              <a:gd name="connsiteX6" fmla="*/ 2404498 w 2684937"/>
              <a:gd name="connsiteY6" fmla="*/ 3472902 h 3472902"/>
              <a:gd name="connsiteX7" fmla="*/ 281102 w 2684937"/>
              <a:gd name="connsiteY7" fmla="*/ 3472902 h 3472902"/>
              <a:gd name="connsiteX8" fmla="*/ 0 w 2684937"/>
              <a:gd name="connsiteY8" fmla="*/ 3191800 h 3472902"/>
              <a:gd name="connsiteX9" fmla="*/ 0 w 2684937"/>
              <a:gd name="connsiteY9" fmla="*/ 281102 h 3472902"/>
              <a:gd name="connsiteX10" fmla="*/ 281102 w 2684937"/>
              <a:gd name="connsiteY10" fmla="*/ 0 h 347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937" h="3472902">
                <a:moveTo>
                  <a:pt x="281102" y="0"/>
                </a:moveTo>
                <a:lnTo>
                  <a:pt x="2404498" y="0"/>
                </a:lnTo>
                <a:cubicBezTo>
                  <a:pt x="2540340" y="0"/>
                  <a:pt x="2653677" y="96357"/>
                  <a:pt x="2679889" y="224450"/>
                </a:cubicBezTo>
                <a:lnTo>
                  <a:pt x="2684937" y="274525"/>
                </a:lnTo>
                <a:lnTo>
                  <a:pt x="2684937" y="3198377"/>
                </a:lnTo>
                <a:lnTo>
                  <a:pt x="2679889" y="3248452"/>
                </a:lnTo>
                <a:cubicBezTo>
                  <a:pt x="2653677" y="3376545"/>
                  <a:pt x="2540340" y="3472902"/>
                  <a:pt x="2404498" y="3472902"/>
                </a:cubicBezTo>
                <a:lnTo>
                  <a:pt x="281102" y="3472902"/>
                </a:lnTo>
                <a:cubicBezTo>
                  <a:pt x="125854" y="3472902"/>
                  <a:pt x="0" y="3347048"/>
                  <a:pt x="0" y="3191800"/>
                </a:cubicBezTo>
                <a:lnTo>
                  <a:pt x="0" y="281102"/>
                </a:lnTo>
                <a:cubicBezTo>
                  <a:pt x="0" y="125854"/>
                  <a:pt x="125854" y="0"/>
                  <a:pt x="281102" y="0"/>
                </a:cubicBezTo>
                <a:close/>
              </a:path>
            </a:pathLst>
          </a:custGeom>
          <a:noFill/>
        </p:spPr>
        <p:txBody>
          <a:bodyPr wrap="square">
            <a:noAutofit/>
          </a:bodyPr>
          <a:lstStyle/>
          <a:p>
            <a:r>
              <a:rPr lang="en-US"/>
              <a:t>Click icon to add picture</a:t>
            </a:r>
            <a:endParaRPr lang="en-GB" dirty="0"/>
          </a:p>
        </p:txBody>
      </p:sp>
      <p:sp>
        <p:nvSpPr>
          <p:cNvPr id="30" name="Text Placeholder 29">
            <a:extLst>
              <a:ext uri="{FF2B5EF4-FFF2-40B4-BE49-F238E27FC236}">
                <a16:creationId xmlns:a16="http://schemas.microsoft.com/office/drawing/2014/main" id="{A1AC30F5-0F2F-BFF5-D1BA-25A2F146EDF7}"/>
              </a:ext>
            </a:extLst>
          </p:cNvPr>
          <p:cNvSpPr>
            <a:spLocks noGrp="1"/>
          </p:cNvSpPr>
          <p:nvPr>
            <p:ph type="body" sz="quarter" idx="49"/>
          </p:nvPr>
        </p:nvSpPr>
        <p:spPr>
          <a:xfrm>
            <a:off x="9216000" y="13788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1" name="Text Placeholder 30">
            <a:extLst>
              <a:ext uri="{FF2B5EF4-FFF2-40B4-BE49-F238E27FC236}">
                <a16:creationId xmlns:a16="http://schemas.microsoft.com/office/drawing/2014/main" id="{203FA84C-056A-53BE-456B-CCD449F5A7DB}"/>
              </a:ext>
            </a:extLst>
          </p:cNvPr>
          <p:cNvSpPr>
            <a:spLocks noGrp="1"/>
          </p:cNvSpPr>
          <p:nvPr>
            <p:ph type="body" sz="quarter" idx="50"/>
          </p:nvPr>
        </p:nvSpPr>
        <p:spPr>
          <a:xfrm>
            <a:off x="9216000" y="3967200"/>
            <a:ext cx="2685600" cy="2314800"/>
          </a:xfrm>
          <a:custGeom>
            <a:avLst/>
            <a:gdLst>
              <a:gd name="connsiteX0" fmla="*/ 293262 w 2685600"/>
              <a:gd name="connsiteY0" fmla="*/ 0 h 2314800"/>
              <a:gd name="connsiteX1" fmla="*/ 2392338 w 2685600"/>
              <a:gd name="connsiteY1" fmla="*/ 0 h 2314800"/>
              <a:gd name="connsiteX2" fmla="*/ 2685600 w 2685600"/>
              <a:gd name="connsiteY2" fmla="*/ 293262 h 2314800"/>
              <a:gd name="connsiteX3" fmla="*/ 2685600 w 2685600"/>
              <a:gd name="connsiteY3" fmla="*/ 2021538 h 2314800"/>
              <a:gd name="connsiteX4" fmla="*/ 2392338 w 2685600"/>
              <a:gd name="connsiteY4" fmla="*/ 2314800 h 2314800"/>
              <a:gd name="connsiteX5" fmla="*/ 293262 w 2685600"/>
              <a:gd name="connsiteY5" fmla="*/ 2314800 h 2314800"/>
              <a:gd name="connsiteX6" fmla="*/ 0 w 2685600"/>
              <a:gd name="connsiteY6" fmla="*/ 2021538 h 2314800"/>
              <a:gd name="connsiteX7" fmla="*/ 0 w 2685600"/>
              <a:gd name="connsiteY7" fmla="*/ 293262 h 2314800"/>
              <a:gd name="connsiteX8" fmla="*/ 293262 w 2685600"/>
              <a:gd name="connsiteY8" fmla="*/ 0 h 23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2314800">
                <a:moveTo>
                  <a:pt x="293262" y="0"/>
                </a:moveTo>
                <a:lnTo>
                  <a:pt x="2392338" y="0"/>
                </a:lnTo>
                <a:cubicBezTo>
                  <a:pt x="2554302" y="0"/>
                  <a:pt x="2685600" y="131298"/>
                  <a:pt x="2685600" y="293262"/>
                </a:cubicBezTo>
                <a:lnTo>
                  <a:pt x="2685600" y="2021538"/>
                </a:lnTo>
                <a:cubicBezTo>
                  <a:pt x="2685600" y="2183502"/>
                  <a:pt x="2554302" y="2314800"/>
                  <a:pt x="2392338" y="2314800"/>
                </a:cubicBezTo>
                <a:lnTo>
                  <a:pt x="293262" y="2314800"/>
                </a:lnTo>
                <a:cubicBezTo>
                  <a:pt x="131298" y="2314800"/>
                  <a:pt x="0" y="2183502"/>
                  <a:pt x="0" y="2021538"/>
                </a:cubicBezTo>
                <a:lnTo>
                  <a:pt x="0" y="293262"/>
                </a:lnTo>
                <a:cubicBezTo>
                  <a:pt x="0" y="131298"/>
                  <a:pt x="131298" y="0"/>
                  <a:pt x="293262" y="0"/>
                </a:cubicBezTo>
                <a:close/>
              </a:path>
            </a:pathLst>
          </a:custGeom>
          <a:solidFill>
            <a:srgbClr val="3C3E00"/>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0">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8" name="Text Placeholder 37">
            <a:extLst>
              <a:ext uri="{FF2B5EF4-FFF2-40B4-BE49-F238E27FC236}">
                <a16:creationId xmlns:a16="http://schemas.microsoft.com/office/drawing/2014/main" id="{84754BB6-3C5A-A7FC-96F2-0712A88702E9}"/>
              </a:ext>
            </a:extLst>
          </p:cNvPr>
          <p:cNvSpPr>
            <a:spLocks noGrp="1"/>
          </p:cNvSpPr>
          <p:nvPr>
            <p:ph type="body" sz="quarter" idx="51"/>
          </p:nvPr>
        </p:nvSpPr>
        <p:spPr>
          <a:xfrm>
            <a:off x="2880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tx2"/>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39" name="Text Placeholder 38">
            <a:extLst>
              <a:ext uri="{FF2B5EF4-FFF2-40B4-BE49-F238E27FC236}">
                <a16:creationId xmlns:a16="http://schemas.microsoft.com/office/drawing/2014/main" id="{E974E1D0-D962-84A4-9F54-83801EF3D47C}"/>
              </a:ext>
            </a:extLst>
          </p:cNvPr>
          <p:cNvSpPr>
            <a:spLocks noGrp="1"/>
          </p:cNvSpPr>
          <p:nvPr>
            <p:ph type="body" sz="quarter" idx="52"/>
          </p:nvPr>
        </p:nvSpPr>
        <p:spPr>
          <a:xfrm>
            <a:off x="32688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bg2"/>
          </a:solidFill>
        </p:spPr>
        <p:txBody>
          <a:bodyPr wrap="square" lIns="144000" tIns="144000" rIns="144000" bIns="144000" anchor="ctr" anchorCtr="0">
            <a:noAutofit/>
          </a:bodyPr>
          <a:lstStyle>
            <a:lvl1pPr algn="ctr">
              <a:defRPr>
                <a:solidFill>
                  <a:schemeClr val="tx2"/>
                </a:solidFill>
              </a:defRPr>
            </a:lvl1pPr>
            <a:lvl2pPr marL="0" indent="0" algn="ctr">
              <a:spcAft>
                <a:spcPts val="600"/>
              </a:spcAft>
              <a:buNone/>
              <a:defRPr sz="2000" b="1">
                <a:solidFill>
                  <a:schemeClr val="tx2"/>
                </a:solidFill>
              </a:defRPr>
            </a:lvl2pPr>
            <a:lvl3pPr marL="0" indent="0" algn="ctr">
              <a:spcAft>
                <a:spcPts val="600"/>
              </a:spcAft>
              <a:buNone/>
              <a:defRPr sz="3000" b="0">
                <a:solidFill>
                  <a:schemeClr val="tx2"/>
                </a:solidFill>
              </a:defRPr>
            </a:lvl3pPr>
            <a:lvl4pPr marL="0" indent="0" algn="ctr">
              <a:spcAft>
                <a:spcPts val="600"/>
              </a:spcAft>
              <a:buNone/>
              <a:defRPr sz="4800">
                <a:solidFill>
                  <a:schemeClr val="tx2"/>
                </a:solidFill>
              </a:defRPr>
            </a:lvl4pPr>
            <a:lvl5pPr>
              <a:spcAft>
                <a:spcPts val="600"/>
              </a:spcAft>
              <a:defRPr sz="1400">
                <a:solidFill>
                  <a:schemeClr val="tx2"/>
                </a:solidFill>
              </a:defRPr>
            </a:lvl5pPr>
            <a:lvl6pPr>
              <a:spcAft>
                <a:spcPts val="600"/>
              </a:spcAft>
              <a:defRPr sz="1400">
                <a:solidFill>
                  <a:schemeClr val="tx2"/>
                </a:solidFill>
              </a:defRPr>
            </a:lvl6pPr>
            <a:lvl7pPr>
              <a:spcAft>
                <a:spcPts val="600"/>
              </a:spcAft>
              <a:defRPr sz="1400">
                <a:solidFill>
                  <a:schemeClr val="tx2"/>
                </a:solidFill>
              </a:defRPr>
            </a:lvl7pPr>
            <a:lvl8pPr>
              <a:spcAft>
                <a:spcPts val="600"/>
              </a:spcAft>
              <a:defRPr sz="1400">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40" name="Text Placeholder 39">
            <a:extLst>
              <a:ext uri="{FF2B5EF4-FFF2-40B4-BE49-F238E27FC236}">
                <a16:creationId xmlns:a16="http://schemas.microsoft.com/office/drawing/2014/main" id="{A6BCC89B-09E3-E8EB-D377-C04935A26673}"/>
              </a:ext>
            </a:extLst>
          </p:cNvPr>
          <p:cNvSpPr>
            <a:spLocks noGrp="1"/>
          </p:cNvSpPr>
          <p:nvPr>
            <p:ph type="body" sz="quarter" idx="53"/>
          </p:nvPr>
        </p:nvSpPr>
        <p:spPr>
          <a:xfrm>
            <a:off x="6231600" y="5122800"/>
            <a:ext cx="2685600" cy="1162045"/>
          </a:xfrm>
          <a:custGeom>
            <a:avLst/>
            <a:gdLst>
              <a:gd name="connsiteX0" fmla="*/ 276114 w 2685600"/>
              <a:gd name="connsiteY0" fmla="*/ 0 h 1162045"/>
              <a:gd name="connsiteX1" fmla="*/ 2409486 w 2685600"/>
              <a:gd name="connsiteY1" fmla="*/ 0 h 1162045"/>
              <a:gd name="connsiteX2" fmla="*/ 2685600 w 2685600"/>
              <a:gd name="connsiteY2" fmla="*/ 276114 h 1162045"/>
              <a:gd name="connsiteX3" fmla="*/ 2685600 w 2685600"/>
              <a:gd name="connsiteY3" fmla="*/ 868783 h 1162045"/>
              <a:gd name="connsiteX4" fmla="*/ 2392338 w 2685600"/>
              <a:gd name="connsiteY4" fmla="*/ 1162045 h 1162045"/>
              <a:gd name="connsiteX5" fmla="*/ 293262 w 2685600"/>
              <a:gd name="connsiteY5" fmla="*/ 1162045 h 1162045"/>
              <a:gd name="connsiteX6" fmla="*/ 0 w 2685600"/>
              <a:gd name="connsiteY6" fmla="*/ 868783 h 1162045"/>
              <a:gd name="connsiteX7" fmla="*/ 0 w 2685600"/>
              <a:gd name="connsiteY7" fmla="*/ 276114 h 1162045"/>
              <a:gd name="connsiteX8" fmla="*/ 276114 w 2685600"/>
              <a:gd name="connsiteY8" fmla="*/ 0 h 116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600" h="1162045">
                <a:moveTo>
                  <a:pt x="276114" y="0"/>
                </a:moveTo>
                <a:lnTo>
                  <a:pt x="2409486" y="0"/>
                </a:lnTo>
                <a:cubicBezTo>
                  <a:pt x="2561980" y="0"/>
                  <a:pt x="2685600" y="123620"/>
                  <a:pt x="2685600" y="276114"/>
                </a:cubicBezTo>
                <a:lnTo>
                  <a:pt x="2685600" y="868783"/>
                </a:lnTo>
                <a:cubicBezTo>
                  <a:pt x="2685600" y="1030747"/>
                  <a:pt x="2554302" y="1162045"/>
                  <a:pt x="2392338" y="1162045"/>
                </a:cubicBezTo>
                <a:lnTo>
                  <a:pt x="293262" y="1162045"/>
                </a:lnTo>
                <a:cubicBezTo>
                  <a:pt x="131298" y="1162045"/>
                  <a:pt x="0" y="1030747"/>
                  <a:pt x="0" y="868783"/>
                </a:cubicBezTo>
                <a:lnTo>
                  <a:pt x="0" y="276114"/>
                </a:lnTo>
                <a:cubicBezTo>
                  <a:pt x="0" y="123620"/>
                  <a:pt x="123620" y="0"/>
                  <a:pt x="276114" y="0"/>
                </a:cubicBezTo>
                <a:close/>
              </a:path>
            </a:pathLst>
          </a:custGeom>
          <a:solidFill>
            <a:schemeClr val="accent1"/>
          </a:solidFill>
        </p:spPr>
        <p:txBody>
          <a:bodyPr wrap="square" lIns="144000" tIns="144000" rIns="144000" bIns="144000" anchor="ctr" anchorCtr="0">
            <a:noAutofit/>
          </a:bodyPr>
          <a:lstStyle>
            <a:lvl1pPr algn="ctr">
              <a:defRPr>
                <a:solidFill>
                  <a:schemeClr val="bg1"/>
                </a:solidFill>
              </a:defRPr>
            </a:lvl1pPr>
            <a:lvl2pPr marL="0" indent="0" algn="ctr">
              <a:spcAft>
                <a:spcPts val="600"/>
              </a:spcAft>
              <a:buNone/>
              <a:defRPr sz="2000" b="1">
                <a:solidFill>
                  <a:schemeClr val="bg1"/>
                </a:solidFill>
              </a:defRPr>
            </a:lvl2pPr>
            <a:lvl3pPr marL="0" indent="0" algn="ctr">
              <a:spcAft>
                <a:spcPts val="600"/>
              </a:spcAft>
              <a:buNone/>
              <a:defRPr sz="3000" b="0">
                <a:solidFill>
                  <a:schemeClr val="bg1"/>
                </a:solidFill>
              </a:defRPr>
            </a:lvl3pPr>
            <a:lvl4pPr marL="0" indent="0" algn="ctr">
              <a:spcAft>
                <a:spcPts val="600"/>
              </a:spcAft>
              <a:buNone/>
              <a:defRPr sz="4800">
                <a:solidFill>
                  <a:schemeClr val="bg1"/>
                </a:solidFill>
              </a:defRPr>
            </a:lvl4pPr>
            <a:lvl5pPr>
              <a:spcAft>
                <a:spcPts val="600"/>
              </a:spcAft>
              <a:defRPr sz="1400">
                <a:solidFill>
                  <a:schemeClr val="bg1"/>
                </a:solidFill>
              </a:defRPr>
            </a:lvl5pPr>
            <a:lvl6pPr>
              <a:spcAft>
                <a:spcPts val="600"/>
              </a:spcAft>
              <a:defRPr sz="1400">
                <a:solidFill>
                  <a:schemeClr val="bg1"/>
                </a:solidFill>
              </a:defRPr>
            </a:lvl6pPr>
            <a:lvl7pPr>
              <a:spcAft>
                <a:spcPts val="600"/>
              </a:spcAft>
              <a:defRPr sz="1400">
                <a:solidFill>
                  <a:schemeClr val="bg1"/>
                </a:solidFill>
              </a:defRPr>
            </a:lvl7pPr>
            <a:lvl8pPr>
              <a:spcAft>
                <a:spcPts val="600"/>
              </a:spcAft>
              <a:defRPr sz="1400">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Tree>
    <p:extLst>
      <p:ext uri="{BB962C8B-B14F-4D97-AF65-F5344CB8AC3E}">
        <p14:creationId xmlns:p14="http://schemas.microsoft.com/office/powerpoint/2010/main" val="1569301260"/>
      </p:ext>
    </p:extLst>
  </p:cSld>
  <p:clrMapOvr>
    <a:masterClrMapping/>
  </p:clrMapOvr>
  <p:extLst>
    <p:ext uri="{DCECCB84-F9BA-43D5-87BE-67443E8EF086}">
      <p15:sldGuideLst xmlns:p15="http://schemas.microsoft.com/office/powerpoint/2012/main">
        <p15:guide id="1" orient="horz" pos="2339">
          <p15:clr>
            <a:srgbClr val="FFC000"/>
          </p15:clr>
        </p15:guide>
        <p15:guide id="2" orient="horz" pos="3958">
          <p15:clr>
            <a:srgbClr val="FFC000"/>
          </p15:clr>
        </p15:guide>
        <p15:guide id="3" orient="horz" pos="865">
          <p15:clr>
            <a:srgbClr val="FFC000"/>
          </p15:clr>
        </p15:guide>
        <p15:guide id="4" orient="horz" pos="2497">
          <p15:clr>
            <a:srgbClr val="FFC000"/>
          </p15:clr>
        </p15:guide>
        <p15:guide id="5" pos="5799">
          <p15:clr>
            <a:srgbClr val="FFC000"/>
          </p15:clr>
        </p15:guide>
        <p15:guide id="6" pos="5617">
          <p15:clr>
            <a:srgbClr val="FFC000"/>
          </p15:clr>
        </p15:guide>
        <p15:guide id="7" pos="3912">
          <p15:clr>
            <a:srgbClr val="FFC000"/>
          </p15:clr>
        </p15:guide>
        <p15:guide id="8" pos="3754">
          <p15:clr>
            <a:srgbClr val="FFC000"/>
          </p15:clr>
        </p15:guide>
        <p15:guide id="9" pos="2055">
          <p15:clr>
            <a:srgbClr val="FFC000"/>
          </p15:clr>
        </p15:guide>
        <p15:guide id="10" pos="1873">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Highlight light">
    <p:bg>
      <p:bgPr>
        <a:solidFill>
          <a:srgbClr val="003C7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US" dirty="0"/>
          </a:p>
        </p:txBody>
      </p:sp>
      <p:sp>
        <p:nvSpPr>
          <p:cNvPr id="16" name="Rectangle 15">
            <a:extLst>
              <a:ext uri="{FF2B5EF4-FFF2-40B4-BE49-F238E27FC236}">
                <a16:creationId xmlns:a16="http://schemas.microsoft.com/office/drawing/2014/main" id="{C89B7536-813E-8070-C2E4-DF1A0FBF5358}"/>
              </a:ext>
            </a:extLst>
          </p:cNvPr>
          <p:cNvSpPr/>
          <p:nvPr/>
        </p:nvSpPr>
        <p:spPr>
          <a:xfrm>
            <a:off x="288000" y="1036800"/>
            <a:ext cx="7617600" cy="25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D7FEE39F-AF01-4C24-8DDC-CF1BA81F434E}" type="slidenum">
              <a:rPr lang="en-GB" smtClean="0"/>
              <a:t>‹Nº›</a:t>
            </a:fld>
            <a:endParaRPr lang="en-GB"/>
          </a:p>
        </p:txBody>
      </p:sp>
      <p:pic>
        <p:nvPicPr>
          <p:cNvPr id="5" name="Grafik 10">
            <a:extLst>
              <a:ext uri="{FF2B5EF4-FFF2-40B4-BE49-F238E27FC236}">
                <a16:creationId xmlns:a16="http://schemas.microsoft.com/office/drawing/2014/main" id="{BED2D7BF-9930-126A-5935-B5206190108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195044268"/>
      </p:ext>
    </p:extLst>
  </p:cSld>
  <p:clrMapOvr>
    <a:masterClrMapping/>
  </p:clrMapOvr>
  <p:extLst>
    <p:ext uri="{DCECCB84-F9BA-43D5-87BE-67443E8EF086}">
      <p15:sldGuideLst xmlns:p15="http://schemas.microsoft.com/office/powerpoint/2012/main">
        <p15:guide id="1" orient="horz" pos="3957">
          <p15:clr>
            <a:srgbClr val="FFC000"/>
          </p15:clr>
        </p15:guide>
        <p15:guide id="2" orient="horz" pos="865">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large light">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5" y="212400"/>
            <a:ext cx="8567739" cy="6073775"/>
          </a:xfrm>
        </p:spPr>
        <p:txBody>
          <a:bodyPr/>
          <a:lstStyle>
            <a:lvl1pPr>
              <a:defRPr sz="2000" b="0"/>
            </a:lvl1pPr>
          </a:lstStyle>
          <a:p>
            <a:r>
              <a:rPr lang="en-US"/>
              <a:t>Click icon to add table</a:t>
            </a: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noProof="0"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B581DD6D-83FF-0267-E76E-43ED8CE245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2447956094"/>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pos="5585">
          <p15:clr>
            <a:srgbClr val="FFC000"/>
          </p15:clr>
        </p15:guide>
        <p15:guide id="4" orient="horz" pos="3958">
          <p15:clr>
            <a:srgbClr val="FFC000"/>
          </p15:clr>
        </p15:guide>
        <p15:guide id="5" orient="horz" pos="86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large dark">
    <p:bg>
      <p:bgPr>
        <a:solidFill>
          <a:srgbClr val="3C3E00"/>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accent1"/>
          </a:solidFill>
          <a:ln w="12700" cap="flat">
            <a:noFill/>
            <a:prstDash val="solid"/>
            <a:miter/>
          </a:ln>
        </p:spPr>
        <p:txBody>
          <a:bodyPr rtlCol="0" anchor="ctr"/>
          <a:lstStyle/>
          <a:p>
            <a:endParaRPr lang="en-GB" dirty="0"/>
          </a:p>
        </p:txBody>
      </p:sp>
      <p:sp>
        <p:nvSpPr>
          <p:cNvPr id="15" name="Table Placeholder 14">
            <a:extLst>
              <a:ext uri="{FF2B5EF4-FFF2-40B4-BE49-F238E27FC236}">
                <a16:creationId xmlns:a16="http://schemas.microsoft.com/office/drawing/2014/main" id="{83528461-6E55-5C10-2CBB-BE461203F371}"/>
              </a:ext>
            </a:extLst>
          </p:cNvPr>
          <p:cNvSpPr>
            <a:spLocks noGrp="1"/>
          </p:cNvSpPr>
          <p:nvPr>
            <p:ph type="tbl" sz="quarter" idx="23"/>
          </p:nvPr>
        </p:nvSpPr>
        <p:spPr>
          <a:xfrm>
            <a:off x="287338" y="212400"/>
            <a:ext cx="8568000" cy="6073775"/>
          </a:xfrm>
        </p:spPr>
        <p:txBody>
          <a:bodyPr/>
          <a:lstStyle>
            <a:lvl1pPr>
              <a:defRPr sz="2000" b="0">
                <a:solidFill>
                  <a:schemeClr val="bg1"/>
                </a:solidFill>
              </a:defRPr>
            </a:lvl1pPr>
          </a:lstStyle>
          <a:p>
            <a:r>
              <a:rPr lang="en-US"/>
              <a:t>Click icon to add table</a:t>
            </a: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CAC3FDC3-BFBF-F503-C15E-859DD8CB74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3" name="Picture Placeholder 2">
            <a:extLst>
              <a:ext uri="{FF2B5EF4-FFF2-40B4-BE49-F238E27FC236}">
                <a16:creationId xmlns:a16="http://schemas.microsoft.com/office/drawing/2014/main" id="{F82D8EE8-72D6-D8D8-117F-673193C347BF}"/>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Tree>
    <p:extLst>
      <p:ext uri="{BB962C8B-B14F-4D97-AF65-F5344CB8AC3E}">
        <p14:creationId xmlns:p14="http://schemas.microsoft.com/office/powerpoint/2010/main" val="392512902"/>
      </p:ext>
    </p:extLst>
  </p:cSld>
  <p:clrMapOvr>
    <a:masterClrMapping/>
  </p:clrMapOvr>
  <p:extLst>
    <p:ext uri="{DCECCB84-F9BA-43D5-87BE-67443E8EF086}">
      <p15:sldGuideLst xmlns:p15="http://schemas.microsoft.com/office/powerpoint/2012/main">
        <p15:guide id="1" pos="844">
          <p15:clr>
            <a:srgbClr val="FFC000"/>
          </p15:clr>
        </p15:guide>
        <p15:guide id="2" pos="5176">
          <p15:clr>
            <a:srgbClr val="FFC000"/>
          </p15:clr>
        </p15:guide>
        <p15:guide id="3" orient="horz" pos="3958">
          <p15:clr>
            <a:srgbClr val="FFC000"/>
          </p15:clr>
        </p15:guide>
        <p15:guide id="4" orient="horz" pos="865">
          <p15:clr>
            <a:srgbClr val="FFC000"/>
          </p15:clr>
        </p15:guide>
        <p15:guide id="5" pos="5585">
          <p15:clr>
            <a:srgbClr val="FFC000"/>
          </p15:clr>
        </p15:guide>
        <p15:guide id="6" pos="5762">
          <p15:clr>
            <a:srgbClr val="FFC000"/>
          </p15:clr>
        </p15:guide>
        <p15:guide id="7" pos="7500">
          <p15:clr>
            <a:srgbClr val="FFC000"/>
          </p15:clr>
        </p15:guide>
        <p15:guide id="8" pos="181">
          <p15:clr>
            <a:srgbClr val="FFC000"/>
          </p15:clr>
        </p15:guide>
        <p15:guide id="9" orient="horz" pos="4142">
          <p15:clr>
            <a:srgbClr val="FFC000"/>
          </p15:clr>
        </p15:guide>
        <p15:guide id="10" orient="horz" pos="169">
          <p15:clr>
            <a:srgbClr val="FFC00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small light">
    <p:bg>
      <p:bgPr>
        <a:solidFill>
          <a:srgbClr val="3C3E00"/>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9" name="Table Placeholder 14">
            <a:extLst>
              <a:ext uri="{FF2B5EF4-FFF2-40B4-BE49-F238E27FC236}">
                <a16:creationId xmlns:a16="http://schemas.microsoft.com/office/drawing/2014/main" id="{7BE4ABD4-8A17-D127-FE2B-06483E4EF321}"/>
              </a:ext>
            </a:extLst>
          </p:cNvPr>
          <p:cNvSpPr>
            <a:spLocks noGrp="1"/>
          </p:cNvSpPr>
          <p:nvPr>
            <p:ph type="tbl" sz="quarter" idx="24"/>
          </p:nvPr>
        </p:nvSpPr>
        <p:spPr>
          <a:xfrm>
            <a:off x="287338" y="212400"/>
            <a:ext cx="5356225" cy="6073775"/>
          </a:xfrm>
        </p:spPr>
        <p:txBody>
          <a:bodyPr/>
          <a:lstStyle>
            <a:lvl1pPr>
              <a:defRPr sz="2000" b="0"/>
            </a:lvl1pPr>
          </a:lstStyle>
          <a:p>
            <a:r>
              <a:rPr lang="en-US"/>
              <a:t>Click icon to add tab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pic>
        <p:nvPicPr>
          <p:cNvPr id="4" name="Grafik 10">
            <a:extLst>
              <a:ext uri="{FF2B5EF4-FFF2-40B4-BE49-F238E27FC236}">
                <a16:creationId xmlns:a16="http://schemas.microsoft.com/office/drawing/2014/main" id="{16741C30-F2D2-5A43-164C-4D6DA6BFA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Tree>
    <p:extLst>
      <p:ext uri="{BB962C8B-B14F-4D97-AF65-F5344CB8AC3E}">
        <p14:creationId xmlns:p14="http://schemas.microsoft.com/office/powerpoint/2010/main" val="4239002214"/>
      </p:ext>
    </p:extLst>
  </p:cSld>
  <p:clrMapOvr>
    <a:masterClrMapping/>
  </p:clrMapOvr>
  <p:extLst>
    <p:ext uri="{DCECCB84-F9BA-43D5-87BE-67443E8EF086}">
      <p15:sldGuideLst xmlns:p15="http://schemas.microsoft.com/office/powerpoint/2012/main">
        <p15:guide id="1" orient="horz" pos="3958">
          <p15:clr>
            <a:srgbClr val="FFC000"/>
          </p15:clr>
        </p15:guide>
        <p15:guide id="2" pos="3556">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with sub-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13" name="Rectangle 12">
            <a:extLst>
              <a:ext uri="{FF2B5EF4-FFF2-40B4-BE49-F238E27FC236}">
                <a16:creationId xmlns:a16="http://schemas.microsoft.com/office/drawing/2014/main" id="{E3E0F317-4110-93B3-B9DE-2463263AF9CA}"/>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Footer Placeholder 2">
            <a:extLst>
              <a:ext uri="{FF2B5EF4-FFF2-40B4-BE49-F238E27FC236}">
                <a16:creationId xmlns:a16="http://schemas.microsoft.com/office/drawing/2014/main" id="{0C73C78F-543D-0FE5-AC6D-97A58D2BB4A6}"/>
              </a:ext>
            </a:extLst>
          </p:cNvPr>
          <p:cNvSpPr>
            <a:spLocks noGrp="1"/>
          </p:cNvSpPr>
          <p:nvPr>
            <p:ph type="ftr" sz="quarter" idx="15"/>
          </p:nvPr>
        </p:nvSpPr>
        <p:spPr/>
        <p:txBody>
          <a:bodyPr/>
          <a:lstStyle/>
          <a:p>
            <a:endParaRPr lang="en-GB" noProof="0" dirty="0"/>
          </a:p>
        </p:txBody>
      </p:sp>
      <p:sp>
        <p:nvSpPr>
          <p:cNvPr id="7" name="Slide Number Placeholder 6">
            <a:extLst>
              <a:ext uri="{FF2B5EF4-FFF2-40B4-BE49-F238E27FC236}">
                <a16:creationId xmlns:a16="http://schemas.microsoft.com/office/drawing/2014/main" id="{52EA1648-417E-59AD-2CA3-D844E7D05325}"/>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12" name="Table Placeholder 11">
            <a:extLst>
              <a:ext uri="{FF2B5EF4-FFF2-40B4-BE49-F238E27FC236}">
                <a16:creationId xmlns:a16="http://schemas.microsoft.com/office/drawing/2014/main" id="{19E379EB-7AC3-7232-E7ED-82AAD359758C}"/>
              </a:ext>
            </a:extLst>
          </p:cNvPr>
          <p:cNvSpPr>
            <a:spLocks noGrp="1"/>
          </p:cNvSpPr>
          <p:nvPr>
            <p:ph type="tbl" sz="quarter" idx="18"/>
          </p:nvPr>
        </p:nvSpPr>
        <p:spPr>
          <a:xfrm>
            <a:off x="287338" y="1378800"/>
            <a:ext cx="11617200" cy="4903200"/>
          </a:xfrm>
        </p:spPr>
        <p:txBody>
          <a:bodyPr/>
          <a:lstStyle>
            <a:lvl1pPr>
              <a:defRPr b="0"/>
            </a:lvl1pPr>
          </a:lstStyle>
          <a:p>
            <a:r>
              <a:rPr lang="en-US"/>
              <a:t>Click icon to add table</a:t>
            </a:r>
            <a:endParaRPr lang="en-GB" dirty="0"/>
          </a:p>
        </p:txBody>
      </p:sp>
    </p:spTree>
    <p:extLst>
      <p:ext uri="{BB962C8B-B14F-4D97-AF65-F5344CB8AC3E}">
        <p14:creationId xmlns:p14="http://schemas.microsoft.com/office/powerpoint/2010/main" val="3225356546"/>
      </p:ext>
    </p:extLst>
  </p:cSld>
  <p:clrMapOvr>
    <a:masterClrMapping/>
  </p:clrMapOvr>
  <p:extLst>
    <p:ext uri="{DCECCB84-F9BA-43D5-87BE-67443E8EF086}">
      <p15:sldGuideLst xmlns:p15="http://schemas.microsoft.com/office/powerpoint/2012/main">
        <p15:guide id="1" orient="horz" pos="3958">
          <p15:clr>
            <a:srgbClr val="FFC000"/>
          </p15:clr>
        </p15:guide>
        <p15:guide id="2" orient="horz" pos="865">
          <p15:clr>
            <a:srgbClr val="FFC000"/>
          </p15:clr>
        </p15:guide>
        <p15:guide id="3" pos="7500">
          <p15:clr>
            <a:srgbClr val="FFC000"/>
          </p15:clr>
        </p15:guide>
        <p15:guide id="4" pos="181">
          <p15:clr>
            <a:srgbClr val="FFC000"/>
          </p15:clr>
        </p15:guide>
        <p15:guide id="5" orient="horz" pos="4142">
          <p15:clr>
            <a:srgbClr val="FFC000"/>
          </p15:clr>
        </p15:guide>
        <p15:guide id="6" orient="horz" pos="169">
          <p15:clr>
            <a:srgbClr val="FFC00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Grafik 10">
            <a:extLst>
              <a:ext uri="{FF2B5EF4-FFF2-40B4-BE49-F238E27FC236}">
                <a16:creationId xmlns:a16="http://schemas.microsoft.com/office/drawing/2014/main" id="{49018480-D069-72D4-6596-EE4F496671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Tree>
    <p:extLst>
      <p:ext uri="{BB962C8B-B14F-4D97-AF65-F5344CB8AC3E}">
        <p14:creationId xmlns:p14="http://schemas.microsoft.com/office/powerpoint/2010/main" val="2718697982"/>
      </p:ext>
    </p:extLst>
  </p:cSld>
  <p:clrMapOvr>
    <a:masterClrMapping/>
  </p:clrMapOvr>
  <p:extLst>
    <p:ext uri="{DCECCB84-F9BA-43D5-87BE-67443E8EF086}">
      <p15:sldGuideLst xmlns:p15="http://schemas.microsoft.com/office/powerpoint/2012/main">
        <p15:guide id="1" pos="3395">
          <p15:clr>
            <a:srgbClr val="FFC000"/>
          </p15:clr>
        </p15:guide>
        <p15:guide id="2" pos="871">
          <p15:clr>
            <a:srgbClr val="FFC000"/>
          </p15:clr>
        </p15:guide>
        <p15:guide id="3" orient="horz" pos="2904">
          <p15:clr>
            <a:srgbClr val="FFC000"/>
          </p15:clr>
        </p15:guide>
        <p15:guide id="4" orient="horz" pos="1898">
          <p15:clr>
            <a:srgbClr val="FFC000"/>
          </p15:clr>
        </p15:guide>
        <p15:guide id="5" orient="horz" pos="906">
          <p15:clr>
            <a:srgbClr val="FFC000"/>
          </p15:clr>
        </p15:guide>
        <p15:guide id="6" orient="horz" pos="3958">
          <p15:clr>
            <a:srgbClr val="FFC000"/>
          </p15:clr>
        </p15:guide>
        <p15:guide id="7" orient="horz" pos="865">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 small light,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3990523"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7800199"/>
      </p:ext>
    </p:extLst>
  </p:cSld>
  <p:clrMapOvr>
    <a:masterClrMapping/>
  </p:clrMapOvr>
  <p:extLst>
    <p:ext uri="{DCECCB84-F9BA-43D5-87BE-67443E8EF086}">
      <p15:sldGuideLst xmlns:p15="http://schemas.microsoft.com/office/powerpoint/2012/main">
        <p15:guide id="1" orient="horz" pos="2904">
          <p15:clr>
            <a:srgbClr val="FFC000"/>
          </p15:clr>
        </p15:guide>
        <p15:guide id="2" orient="horz" pos="1898">
          <p15:clr>
            <a:srgbClr val="FFC000"/>
          </p15:clr>
        </p15:guide>
        <p15:guide id="3" orient="horz" pos="906">
          <p15:clr>
            <a:srgbClr val="FFC000"/>
          </p15:clr>
        </p15:guide>
        <p15:guide id="4" orient="horz" pos="3958">
          <p15:clr>
            <a:srgbClr val="FFC000"/>
          </p15:clr>
        </p15:guide>
        <p15:guide id="5" orient="horz" pos="865">
          <p15:clr>
            <a:srgbClr val="FFC000"/>
          </p15:clr>
        </p15:guide>
        <p15:guide id="6" pos="873">
          <p15:clr>
            <a:srgbClr val="FFC000"/>
          </p15:clr>
        </p15:guide>
        <p15:guide id="7" pos="3393">
          <p15:clr>
            <a:srgbClr val="FFC000"/>
          </p15:clr>
        </p15:guide>
        <p15:guide id="8" pos="7500">
          <p15:clr>
            <a:srgbClr val="FFC000"/>
          </p15:clr>
        </p15:guide>
        <p15:guide id="9" pos="181">
          <p15:clr>
            <a:srgbClr val="FFC000"/>
          </p15:clr>
        </p15:guide>
        <p15:guide id="10" orient="horz" pos="4142">
          <p15:clr>
            <a:srgbClr val="FFC000"/>
          </p15:clr>
        </p15:guide>
        <p15:guide id="11" orient="horz" pos="169">
          <p15:clr>
            <a:srgbClr val="FFC00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act large l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6" y="272485"/>
            <a:ext cx="7669213"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59" y="144971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GB" dirty="0"/>
          </a:p>
        </p:txBody>
      </p:sp>
    </p:spTree>
    <p:extLst>
      <p:ext uri="{BB962C8B-B14F-4D97-AF65-F5344CB8AC3E}">
        <p14:creationId xmlns:p14="http://schemas.microsoft.com/office/powerpoint/2010/main" val="2009439571"/>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orient="horz" pos="2904">
          <p15:clr>
            <a:srgbClr val="FFC000"/>
          </p15:clr>
        </p15:guide>
        <p15:guide id="6" orient="horz" pos="1898">
          <p15:clr>
            <a:srgbClr val="FFC000"/>
          </p15:clr>
        </p15:guide>
        <p15:guide id="7" pos="871">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large dark">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C9466D7-7026-11D5-2238-B3F59D15C228}"/>
              </a:ext>
            </a:extLst>
          </p:cNvPr>
          <p:cNvSpPr>
            <a:spLocks noGrp="1"/>
          </p:cNvSpPr>
          <p:nvPr>
            <p:ph type="pic" sz="quarter" idx="14"/>
          </p:nvPr>
        </p:nvSpPr>
        <p:spPr>
          <a:xfrm>
            <a:off x="8865196" y="0"/>
            <a:ext cx="3326803" cy="6858000"/>
          </a:xfrm>
          <a:custGeom>
            <a:avLst/>
            <a:gdLst>
              <a:gd name="connsiteX0" fmla="*/ 0 w 3326803"/>
              <a:gd name="connsiteY0" fmla="*/ 0 h 6858000"/>
              <a:gd name="connsiteX1" fmla="*/ 3326803 w 3326803"/>
              <a:gd name="connsiteY1" fmla="*/ 0 h 6858000"/>
              <a:gd name="connsiteX2" fmla="*/ 3326803 w 3326803"/>
              <a:gd name="connsiteY2" fmla="*/ 6858000 h 6858000"/>
              <a:gd name="connsiteX3" fmla="*/ 0 w 3326803"/>
              <a:gd name="connsiteY3" fmla="*/ 6858000 h 6858000"/>
              <a:gd name="connsiteX4" fmla="*/ 279400 w 3326803"/>
              <a:gd name="connsiteY4" fmla="*/ 6578600 h 6858000"/>
              <a:gd name="connsiteX5" fmla="*/ 279400 w 3326803"/>
              <a:gd name="connsiteY5" fmla="*/ 279400 h 6858000"/>
              <a:gd name="connsiteX6" fmla="*/ 0 w 3326803"/>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803" h="6858000">
                <a:moveTo>
                  <a:pt x="0" y="0"/>
                </a:moveTo>
                <a:lnTo>
                  <a:pt x="3326803" y="0"/>
                </a:lnTo>
                <a:lnTo>
                  <a:pt x="3326803" y="6858000"/>
                </a:lnTo>
                <a:lnTo>
                  <a:pt x="0" y="6858000"/>
                </a:lnTo>
                <a:cubicBezTo>
                  <a:pt x="154306" y="6858000"/>
                  <a:pt x="279400" y="6732906"/>
                  <a:pt x="279400" y="6578600"/>
                </a:cubicBezTo>
                <a:lnTo>
                  <a:pt x="279400" y="279400"/>
                </a:lnTo>
                <a:cubicBezTo>
                  <a:pt x="279400" y="125095"/>
                  <a:pt x="154306" y="0"/>
                  <a:pt x="0" y="0"/>
                </a:cubicBezTo>
                <a:close/>
              </a:path>
            </a:pathLst>
          </a:custGeom>
        </p:spPr>
        <p:txBody>
          <a:bodyPr wrap="square" lIns="288000">
            <a:noAutofit/>
          </a:bodyPr>
          <a:lstStyle>
            <a:lvl1pPr>
              <a:defRPr>
                <a:solidFill>
                  <a:schemeClr val="bg1"/>
                </a:solidFill>
              </a:defRPr>
            </a:lvl1pPr>
          </a:lstStyle>
          <a:p>
            <a:r>
              <a:rPr lang="en-US"/>
              <a:t>Click icon to add picture</a:t>
            </a:r>
            <a:endParaRPr lang="en-GB" dirty="0"/>
          </a:p>
        </p:txBody>
      </p:sp>
      <p:sp>
        <p:nvSpPr>
          <p:cNvPr id="7" name="Graphic 4">
            <a:extLst>
              <a:ext uri="{FF2B5EF4-FFF2-40B4-BE49-F238E27FC236}">
                <a16:creationId xmlns:a16="http://schemas.microsoft.com/office/drawing/2014/main" id="{18856E0D-BA88-5530-3929-C472EBBF987C}"/>
              </a:ext>
            </a:extLst>
          </p:cNvPr>
          <p:cNvSpPr/>
          <p:nvPr userDrawn="1"/>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tx2"/>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1387877"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1389600"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1389600"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7668000" cy="612000"/>
          </a:xfrm>
        </p:spPr>
        <p:txBody>
          <a:bodyPr/>
          <a:lstStyle>
            <a:lvl1pPr>
              <a:defRPr>
                <a:solidFill>
                  <a:schemeClr val="bg1"/>
                </a:solidFill>
              </a:defRPr>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lvl1pPr>
              <a:defRPr>
                <a:solidFill>
                  <a:schemeClr val="bg1"/>
                </a:solidFill>
              </a:defRPr>
            </a:lvl1pPr>
          </a:lstStyle>
          <a:p>
            <a:fld id="{9A0F3412-00EB-454F-952B-1EB5D3D69307}" type="slidenum">
              <a:rPr lang="en-GB" smtClean="0"/>
              <a:pPr/>
              <a:t>‹Nº›</a:t>
            </a:fld>
            <a:endParaRPr lang="en-GB" dirty="0"/>
          </a:p>
        </p:txBody>
      </p:sp>
      <p:sp>
        <p:nvSpPr>
          <p:cNvPr id="31" name="Text Placeholder 18">
            <a:extLst>
              <a:ext uri="{FF2B5EF4-FFF2-40B4-BE49-F238E27FC236}">
                <a16:creationId xmlns:a16="http://schemas.microsoft.com/office/drawing/2014/main" id="{8F17C3B9-E8D0-267E-7146-1E9673361A4B}"/>
              </a:ext>
            </a:extLst>
          </p:cNvPr>
          <p:cNvSpPr>
            <a:spLocks noGrp="1"/>
          </p:cNvSpPr>
          <p:nvPr>
            <p:ph type="body" sz="quarter" idx="30"/>
          </p:nvPr>
        </p:nvSpPr>
        <p:spPr>
          <a:xfrm>
            <a:off x="5576760" y="144971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Picture Placeholder 14">
            <a:extLst>
              <a:ext uri="{FF2B5EF4-FFF2-40B4-BE49-F238E27FC236}">
                <a16:creationId xmlns:a16="http://schemas.microsoft.com/office/drawing/2014/main" id="{7E9B2076-03CD-8440-CDC8-1DA0E2603DEC}"/>
              </a:ext>
            </a:extLst>
          </p:cNvPr>
          <p:cNvSpPr>
            <a:spLocks noGrp="1" noChangeAspect="1"/>
          </p:cNvSpPr>
          <p:nvPr>
            <p:ph type="pic" sz="quarter" idx="31"/>
          </p:nvPr>
        </p:nvSpPr>
        <p:spPr>
          <a:xfrm>
            <a:off x="4476618"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33" name="Text Placeholder 18">
            <a:extLst>
              <a:ext uri="{FF2B5EF4-FFF2-40B4-BE49-F238E27FC236}">
                <a16:creationId xmlns:a16="http://schemas.microsoft.com/office/drawing/2014/main" id="{CED04CBA-DE01-EE53-BB6F-07F996F8A484}"/>
              </a:ext>
            </a:extLst>
          </p:cNvPr>
          <p:cNvSpPr>
            <a:spLocks noGrp="1"/>
          </p:cNvSpPr>
          <p:nvPr>
            <p:ph type="body" sz="quarter" idx="32"/>
          </p:nvPr>
        </p:nvSpPr>
        <p:spPr>
          <a:xfrm>
            <a:off x="5578483" y="303448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4">
            <a:extLst>
              <a:ext uri="{FF2B5EF4-FFF2-40B4-BE49-F238E27FC236}">
                <a16:creationId xmlns:a16="http://schemas.microsoft.com/office/drawing/2014/main" id="{58DA222D-C25A-D45A-7FCE-85430FF28398}"/>
              </a:ext>
            </a:extLst>
          </p:cNvPr>
          <p:cNvSpPr>
            <a:spLocks noGrp="1" noChangeAspect="1"/>
          </p:cNvSpPr>
          <p:nvPr>
            <p:ph type="pic" sz="quarter" idx="33"/>
          </p:nvPr>
        </p:nvSpPr>
        <p:spPr>
          <a:xfrm>
            <a:off x="4476883"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35" name="Text Placeholder 18">
            <a:extLst>
              <a:ext uri="{FF2B5EF4-FFF2-40B4-BE49-F238E27FC236}">
                <a16:creationId xmlns:a16="http://schemas.microsoft.com/office/drawing/2014/main" id="{4CE00001-8D51-75EC-4465-EED81474FE74}"/>
              </a:ext>
            </a:extLst>
          </p:cNvPr>
          <p:cNvSpPr>
            <a:spLocks noGrp="1"/>
          </p:cNvSpPr>
          <p:nvPr>
            <p:ph type="body" sz="quarter" idx="34"/>
          </p:nvPr>
        </p:nvSpPr>
        <p:spPr>
          <a:xfrm>
            <a:off x="5578483" y="4619250"/>
            <a:ext cx="2376000" cy="1080705"/>
          </a:xfrm>
        </p:spPr>
        <p:txBody>
          <a:bodyPr/>
          <a:lstStyle>
            <a:lvl1pPr>
              <a:spcAft>
                <a:spcPts val="0"/>
              </a:spcAft>
              <a:defRPr sz="1200">
                <a:solidFill>
                  <a:schemeClr val="bg1"/>
                </a:solidFill>
              </a:defRPr>
            </a:lvl1pPr>
            <a:lvl2pPr marL="0" indent="0">
              <a:spcAft>
                <a:spcPts val="1400"/>
              </a:spcAft>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algn="l">
              <a:spcAft>
                <a:spcPts val="0"/>
              </a:spcAft>
              <a:defRPr sz="1200" b="0">
                <a:solidFill>
                  <a:schemeClr val="bg1"/>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Picture Placeholder 14">
            <a:extLst>
              <a:ext uri="{FF2B5EF4-FFF2-40B4-BE49-F238E27FC236}">
                <a16:creationId xmlns:a16="http://schemas.microsoft.com/office/drawing/2014/main" id="{E403703E-D04C-61D4-A8F8-131F1E607124}"/>
              </a:ext>
            </a:extLst>
          </p:cNvPr>
          <p:cNvSpPr>
            <a:spLocks noGrp="1" noChangeAspect="1"/>
          </p:cNvSpPr>
          <p:nvPr>
            <p:ph type="pic" sz="quarter" idx="35"/>
          </p:nvPr>
        </p:nvSpPr>
        <p:spPr>
          <a:xfrm>
            <a:off x="4476883" y="4551729"/>
            <a:ext cx="961200" cy="961200"/>
          </a:xfrm>
          <a:prstGeom prst="ellipse">
            <a:avLst/>
          </a:prstGeom>
          <a:noFill/>
        </p:spPr>
        <p:txBody>
          <a:bodyPr/>
          <a:lstStyle>
            <a:lvl1pPr>
              <a:defRPr sz="1200" b="0"/>
            </a:lvl1pPr>
          </a:lstStyle>
          <a:p>
            <a:r>
              <a:rPr lang="en-US"/>
              <a:t>Click icon to add picture</a:t>
            </a:r>
            <a:endParaRPr lang="en-GB" dirty="0"/>
          </a:p>
        </p:txBody>
      </p:sp>
      <p:cxnSp>
        <p:nvCxnSpPr>
          <p:cNvPr id="17" name="Gerade Verbindung 61">
            <a:extLst>
              <a:ext uri="{FF2B5EF4-FFF2-40B4-BE49-F238E27FC236}">
                <a16:creationId xmlns:a16="http://schemas.microsoft.com/office/drawing/2014/main" id="{80C5D521-F036-9A83-0F87-2C8872A57862}"/>
              </a:ext>
            </a:extLst>
          </p:cNvPr>
          <p:cNvCxnSpPr>
            <a:cxnSpLocks/>
          </p:cNvCxnSpPr>
          <p:nvPr userDrawn="1"/>
        </p:nvCxnSpPr>
        <p:spPr>
          <a:xfrm>
            <a:off x="0" y="1036800"/>
            <a:ext cx="803583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4473578"/>
      </p:ext>
    </p:extLst>
  </p:cSld>
  <p:clrMapOvr>
    <a:masterClrMapping/>
  </p:clrMapOvr>
  <p:extLst>
    <p:ext uri="{DCECCB84-F9BA-43D5-87BE-67443E8EF086}">
      <p15:sldGuideLst xmlns:p15="http://schemas.microsoft.com/office/powerpoint/2012/main">
        <p15:guide id="1" pos="3507">
          <p15:clr>
            <a:srgbClr val="FFC000"/>
          </p15:clr>
        </p15:guide>
        <p15:guide id="2" pos="2373">
          <p15:clr>
            <a:srgbClr val="FFC000"/>
          </p15:clr>
        </p15:guide>
        <p15:guide id="3" pos="5009">
          <p15:clr>
            <a:srgbClr val="FFC000"/>
          </p15:clr>
        </p15:guide>
        <p15:guide id="4" pos="2819">
          <p15:clr>
            <a:srgbClr val="FFC000"/>
          </p15:clr>
        </p15:guide>
        <p15:guide id="5" pos="871">
          <p15:clr>
            <a:srgbClr val="FFC000"/>
          </p15:clr>
        </p15:guide>
        <p15:guide id="6" orient="horz" pos="2904">
          <p15:clr>
            <a:srgbClr val="FFC000"/>
          </p15:clr>
        </p15:guide>
        <p15:guide id="7" orient="horz" pos="1898">
          <p15:clr>
            <a:srgbClr val="FFC000"/>
          </p15:clr>
        </p15:guide>
        <p15:guide id="8" orient="horz" pos="865">
          <p15:clr>
            <a:srgbClr val="FFC000"/>
          </p15:clr>
        </p15:guide>
        <p15:guide id="9" orient="horz" pos="906">
          <p15:clr>
            <a:srgbClr val="FFC000"/>
          </p15:clr>
        </p15:guide>
        <p15:guide id="10" orient="horz" pos="3958">
          <p15:clr>
            <a:srgbClr val="FFC000"/>
          </p15:clr>
        </p15:guide>
        <p15:guide id="11" pos="7500">
          <p15:clr>
            <a:srgbClr val="FFC000"/>
          </p15:clr>
        </p15:guide>
        <p15:guide id="12" pos="181">
          <p15:clr>
            <a:srgbClr val="FFC000"/>
          </p15:clr>
        </p15:guide>
        <p15:guide id="13" orient="horz" pos="4142">
          <p15:clr>
            <a:srgbClr val="FFC000"/>
          </p15:clr>
        </p15:guide>
        <p15:guide id="14" orient="horz" pos="169">
          <p15:clr>
            <a:srgbClr val="FFC00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act small light QR, Logo neg.">
    <p:bg>
      <p:bgPr>
        <a:solidFill>
          <a:schemeClr val="accent1"/>
        </a:solidFill>
        <a:effectLst/>
      </p:bgPr>
    </p:bg>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GB"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GB"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GB" dirty="0"/>
          </a:p>
        </p:txBody>
      </p:sp>
      <p:pic>
        <p:nvPicPr>
          <p:cNvPr id="6" name="Grafik 10">
            <a:extLst>
              <a:ext uri="{FF2B5EF4-FFF2-40B4-BE49-F238E27FC236}">
                <a16:creationId xmlns:a16="http://schemas.microsoft.com/office/drawing/2014/main" id="{6FAD160A-5087-060D-4C02-28422E86A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Tree>
    <p:extLst>
      <p:ext uri="{BB962C8B-B14F-4D97-AF65-F5344CB8AC3E}">
        <p14:creationId xmlns:p14="http://schemas.microsoft.com/office/powerpoint/2010/main" val="2417648155"/>
      </p:ext>
    </p:extLst>
  </p:cSld>
  <p:clrMapOvr>
    <a:masterClrMapping/>
  </p:clrMapOvr>
  <p:extLst>
    <p:ext uri="{DCECCB84-F9BA-43D5-87BE-67443E8EF086}">
      <p15:sldGuideLst xmlns:p15="http://schemas.microsoft.com/office/powerpoint/2012/main">
        <p15:guide id="1" pos="1590">
          <p15:clr>
            <a:srgbClr val="FFC000"/>
          </p15:clr>
        </p15:guide>
        <p15:guide id="2" orient="horz" pos="3958">
          <p15:clr>
            <a:srgbClr val="FFC000"/>
          </p15:clr>
        </p15:guide>
        <p15:guide id="3" pos="3395">
          <p15:clr>
            <a:srgbClr val="FFC000"/>
          </p15:clr>
        </p15:guide>
        <p15:guide id="4" pos="933">
          <p15:clr>
            <a:srgbClr val="FFC000"/>
          </p15:clr>
        </p15:guide>
        <p15:guide id="5" orient="horz" pos="2904">
          <p15:clr>
            <a:srgbClr val="FFC000"/>
          </p15:clr>
        </p15:guide>
        <p15:guide id="6" orient="horz" pos="1898">
          <p15:clr>
            <a:srgbClr val="FFC000"/>
          </p15:clr>
        </p15:guide>
        <p15:guide id="7" orient="horz" pos="906">
          <p15:clr>
            <a:srgbClr val="FFC000"/>
          </p15:clr>
        </p15:guide>
        <p15:guide id="8" orient="horz" pos="865">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act small light QR, Logo pos.">
    <p:spTree>
      <p:nvGrpSpPr>
        <p:cNvPr id="1" name=""/>
        <p:cNvGrpSpPr/>
        <p:nvPr/>
      </p:nvGrpSpPr>
      <p:grpSpPr>
        <a:xfrm>
          <a:off x="0" y="0"/>
          <a:ext cx="0" cy="0"/>
          <a:chOff x="0" y="0"/>
          <a:chExt cx="0" cy="0"/>
        </a:xfrm>
      </p:grpSpPr>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48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925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50904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GB"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GB"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GB" dirty="0"/>
          </a:p>
        </p:txBody>
      </p:sp>
      <p:sp>
        <p:nvSpPr>
          <p:cNvPr id="17" name="Picture Placeholder 16">
            <a:extLst>
              <a:ext uri="{FF2B5EF4-FFF2-40B4-BE49-F238E27FC236}">
                <a16:creationId xmlns:a16="http://schemas.microsoft.com/office/drawing/2014/main" id="{9478EA6C-761C-C835-0D7D-B787D5925913}"/>
              </a:ext>
            </a:extLst>
          </p:cNvPr>
          <p:cNvSpPr>
            <a:spLocks noGrp="1"/>
          </p:cNvSpPr>
          <p:nvPr>
            <p:ph type="pic" sz="quarter" idx="23"/>
          </p:nvPr>
        </p:nvSpPr>
        <p:spPr>
          <a:xfrm>
            <a:off x="5909735" y="0"/>
            <a:ext cx="6282267" cy="6858000"/>
          </a:xfrm>
          <a:custGeom>
            <a:avLst/>
            <a:gdLst>
              <a:gd name="connsiteX0" fmla="*/ 0 w 6282267"/>
              <a:gd name="connsiteY0" fmla="*/ 0 h 6858000"/>
              <a:gd name="connsiteX1" fmla="*/ 6282267 w 6282267"/>
              <a:gd name="connsiteY1" fmla="*/ 0 h 6858000"/>
              <a:gd name="connsiteX2" fmla="*/ 6282267 w 6282267"/>
              <a:gd name="connsiteY2" fmla="*/ 6858000 h 6858000"/>
              <a:gd name="connsiteX3" fmla="*/ 0 w 6282267"/>
              <a:gd name="connsiteY3" fmla="*/ 6858000 h 6858000"/>
              <a:gd name="connsiteX4" fmla="*/ 186266 w 6282267"/>
              <a:gd name="connsiteY4" fmla="*/ 6578600 h 6858000"/>
              <a:gd name="connsiteX5" fmla="*/ 186266 w 6282267"/>
              <a:gd name="connsiteY5" fmla="*/ 279400 h 6858000"/>
              <a:gd name="connsiteX6" fmla="*/ 0 w 628226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2267" h="6858000">
                <a:moveTo>
                  <a:pt x="0" y="0"/>
                </a:moveTo>
                <a:lnTo>
                  <a:pt x="6282267" y="0"/>
                </a:lnTo>
                <a:lnTo>
                  <a:pt x="6282267" y="6858000"/>
                </a:lnTo>
                <a:lnTo>
                  <a:pt x="0" y="6858000"/>
                </a:lnTo>
                <a:cubicBezTo>
                  <a:pt x="102870" y="6858000"/>
                  <a:pt x="186266" y="6732906"/>
                  <a:pt x="186266" y="6578600"/>
                </a:cubicBezTo>
                <a:lnTo>
                  <a:pt x="186266" y="279400"/>
                </a:lnTo>
                <a:cubicBezTo>
                  <a:pt x="186266" y="125095"/>
                  <a:pt x="102870" y="0"/>
                  <a:pt x="0" y="0"/>
                </a:cubicBezTo>
                <a:close/>
              </a:path>
            </a:pathLst>
          </a:custGeom>
          <a:noFill/>
        </p:spPr>
        <p:txBody>
          <a:bodyPr wrap="square" lIns="288000">
            <a:noAutofit/>
          </a:bodyPr>
          <a:lstStyle>
            <a:lvl1pPr>
              <a:defRPr>
                <a:solidFill>
                  <a:schemeClr val="bg1"/>
                </a:solidFill>
              </a:defRPr>
            </a:lvl1pPr>
          </a:lstStyle>
          <a:p>
            <a:r>
              <a:rPr lang="en-US"/>
              <a:t>Click icon to add picture</a:t>
            </a:r>
            <a:endParaRPr lang="en-GB" dirty="0"/>
          </a:p>
        </p:txBody>
      </p:sp>
    </p:spTree>
    <p:extLst>
      <p:ext uri="{BB962C8B-B14F-4D97-AF65-F5344CB8AC3E}">
        <p14:creationId xmlns:p14="http://schemas.microsoft.com/office/powerpoint/2010/main" val="1652410629"/>
      </p:ext>
    </p:extLst>
  </p:cSld>
  <p:clrMapOvr>
    <a:masterClrMapping/>
  </p:clrMapOvr>
  <p:extLst>
    <p:ext uri="{DCECCB84-F9BA-43D5-87BE-67443E8EF086}">
      <p15:sldGuideLst xmlns:p15="http://schemas.microsoft.com/office/powerpoint/2012/main">
        <p15:guide id="1" pos="1590">
          <p15:clr>
            <a:srgbClr val="FFC000"/>
          </p15:clr>
        </p15:guide>
        <p15:guide id="2" pos="933">
          <p15:clr>
            <a:srgbClr val="FFC000"/>
          </p15:clr>
        </p15:guide>
        <p15:guide id="3" pos="3395">
          <p15:clr>
            <a:srgbClr val="FFC000"/>
          </p15:clr>
        </p15:guide>
        <p15:guide id="4" orient="horz" pos="2904">
          <p15:clr>
            <a:srgbClr val="FFC000"/>
          </p15:clr>
        </p15:guide>
        <p15:guide id="5" orient="horz" pos="1898">
          <p15:clr>
            <a:srgbClr val="FFC000"/>
          </p15:clr>
        </p15:guide>
        <p15:guide id="6" orient="horz" pos="906">
          <p15:clr>
            <a:srgbClr val="FFC000"/>
          </p15:clr>
        </p15:guide>
        <p15:guide id="7" orient="horz" pos="865">
          <p15:clr>
            <a:srgbClr val="FFC000"/>
          </p15:clr>
        </p15:guide>
        <p15:guide id="8" orient="horz" pos="3958">
          <p15:clr>
            <a:srgbClr val="FFC000"/>
          </p15:clr>
        </p15:guide>
        <p15:guide id="9" pos="7500">
          <p15:clr>
            <a:srgbClr val="FFC000"/>
          </p15:clr>
        </p15:guide>
        <p15:guide id="10" pos="181">
          <p15:clr>
            <a:srgbClr val="FFC000"/>
          </p15:clr>
        </p15:guide>
        <p15:guide id="11" orient="horz" pos="4142">
          <p15:clr>
            <a:srgbClr val="FFC000"/>
          </p15:clr>
        </p15:guide>
        <p15:guide id="12" orient="horz" pos="169">
          <p15:clr>
            <a:srgbClr val="FFC00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Highlight light, Line dark">
    <p:bg>
      <p:bgPr>
        <a:solidFill>
          <a:schemeClr val="accent1"/>
        </a:solidFill>
        <a:effectLst/>
      </p:bgPr>
    </p:bg>
    <p:spTree>
      <p:nvGrpSpPr>
        <p:cNvPr id="1" name=""/>
        <p:cNvGrpSpPr/>
        <p:nvPr/>
      </p:nvGrpSpPr>
      <p:grpSpPr>
        <a:xfrm>
          <a:off x="0" y="0"/>
          <a:ext cx="0" cy="0"/>
          <a:chOff x="0" y="0"/>
          <a:chExt cx="0" cy="0"/>
        </a:xfrm>
      </p:grpSpPr>
      <p:sp>
        <p:nvSpPr>
          <p:cNvPr id="9" name="Graphic 4">
            <a:extLst>
              <a:ext uri="{FF2B5EF4-FFF2-40B4-BE49-F238E27FC236}">
                <a16:creationId xmlns:a16="http://schemas.microsoft.com/office/drawing/2014/main" id="{A6809639-270D-4927-6DDD-E3223F5BC16C}"/>
              </a:ext>
            </a:extLst>
          </p:cNvPr>
          <p:cNvSpPr/>
          <p:nvPr/>
        </p:nvSpPr>
        <p:spPr>
          <a:xfrm>
            <a:off x="599" y="0"/>
            <a:ext cx="9143997"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2" name="Titel 1">
            <a:extLst>
              <a:ext uri="{FF2B5EF4-FFF2-40B4-BE49-F238E27FC236}">
                <a16:creationId xmlns:a16="http://schemas.microsoft.com/office/drawing/2014/main" id="{88B85636-DA4C-1422-EF5D-90868891B3AC}"/>
              </a:ext>
            </a:extLst>
          </p:cNvPr>
          <p:cNvSpPr>
            <a:spLocks noGrp="1"/>
          </p:cNvSpPr>
          <p:nvPr>
            <p:ph type="title"/>
          </p:nvPr>
        </p:nvSpPr>
        <p:spPr>
          <a:xfrm>
            <a:off x="287337" y="272485"/>
            <a:ext cx="7617600" cy="612000"/>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F5516F1E-916B-02DC-B961-FC0003BC89AB}"/>
              </a:ext>
            </a:extLst>
          </p:cNvPr>
          <p:cNvSpPr>
            <a:spLocks noGrp="1"/>
          </p:cNvSpPr>
          <p:nvPr>
            <p:ph type="body" sz="quarter" idx="13"/>
          </p:nvPr>
        </p:nvSpPr>
        <p:spPr>
          <a:xfrm>
            <a:off x="287338" y="1379538"/>
            <a:ext cx="7617600" cy="4903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15">
            <a:extLst>
              <a:ext uri="{FF2B5EF4-FFF2-40B4-BE49-F238E27FC236}">
                <a16:creationId xmlns:a16="http://schemas.microsoft.com/office/drawing/2014/main" id="{C89B7536-813E-8070-C2E4-DF1A0FBF5358}"/>
              </a:ext>
            </a:extLst>
          </p:cNvPr>
          <p:cNvSpPr/>
          <p:nvPr/>
        </p:nvSpPr>
        <p:spPr>
          <a:xfrm>
            <a:off x="288000" y="1036800"/>
            <a:ext cx="7617600" cy="25200"/>
          </a:xfrm>
          <a:prstGeom prst="rect">
            <a:avLst/>
          </a:prstGeom>
          <a:solidFill>
            <a:srgbClr val="003C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oter Placeholder 9">
            <a:extLst>
              <a:ext uri="{FF2B5EF4-FFF2-40B4-BE49-F238E27FC236}">
                <a16:creationId xmlns:a16="http://schemas.microsoft.com/office/drawing/2014/main" id="{2FC2DA26-A410-2B50-8114-4C1DF682F034}"/>
              </a:ext>
            </a:extLst>
          </p:cNvPr>
          <p:cNvSpPr>
            <a:spLocks noGrp="1"/>
          </p:cNvSpPr>
          <p:nvPr>
            <p:ph type="ftr" sz="quarter" idx="15"/>
          </p:nvPr>
        </p:nvSpPr>
        <p:spPr/>
        <p:txBody>
          <a:bodyPr/>
          <a:lstStyle/>
          <a:p>
            <a:endParaRPr lang="en-GB"/>
          </a:p>
        </p:txBody>
      </p:sp>
      <p:sp>
        <p:nvSpPr>
          <p:cNvPr id="11" name="Slide Number Placeholder 10">
            <a:extLst>
              <a:ext uri="{FF2B5EF4-FFF2-40B4-BE49-F238E27FC236}">
                <a16:creationId xmlns:a16="http://schemas.microsoft.com/office/drawing/2014/main" id="{4ACD463D-018F-6051-2067-66933EBD64B9}"/>
              </a:ext>
            </a:extLst>
          </p:cNvPr>
          <p:cNvSpPr>
            <a:spLocks noGrp="1"/>
          </p:cNvSpPr>
          <p:nvPr>
            <p:ph type="sldNum" sz="quarter" idx="16"/>
          </p:nvPr>
        </p:nvSpPr>
        <p:spPr/>
        <p:txBody>
          <a:bodyPr/>
          <a:lstStyle/>
          <a:p>
            <a:fld id="{D7FEE39F-AF01-4C24-8DDC-CF1BA81F434E}" type="slidenum">
              <a:rPr lang="en-GB" smtClean="0"/>
              <a:t>‹Nº›</a:t>
            </a:fld>
            <a:endParaRPr lang="en-GB"/>
          </a:p>
        </p:txBody>
      </p:sp>
      <p:pic>
        <p:nvPicPr>
          <p:cNvPr id="3" name="Grafik 10">
            <a:extLst>
              <a:ext uri="{FF2B5EF4-FFF2-40B4-BE49-F238E27FC236}">
                <a16:creationId xmlns:a16="http://schemas.microsoft.com/office/drawing/2014/main" id="{FC9AD835-EDF7-941C-5AC5-D89F9EE7FAA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4130751572"/>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4981">
          <p15:clr>
            <a:srgbClr val="FFC000"/>
          </p15:clr>
        </p15:guide>
        <p15:guide id="4" pos="7500">
          <p15:clr>
            <a:srgbClr val="FFC000"/>
          </p15:clr>
        </p15:guide>
        <p15:guide id="5" pos="181">
          <p15:clr>
            <a:srgbClr val="FFC000"/>
          </p15:clr>
        </p15:guide>
        <p15:guide id="6" orient="horz" pos="4142">
          <p15:clr>
            <a:srgbClr val="FFC000"/>
          </p15:clr>
        </p15:guide>
        <p15:guide id="7" orient="horz" pos="169">
          <p15:clr>
            <a:srgbClr val="FFC00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act large light QR">
    <p:spTree>
      <p:nvGrpSpPr>
        <p:cNvPr id="1" name=""/>
        <p:cNvGrpSpPr/>
        <p:nvPr/>
      </p:nvGrpSpPr>
      <p:grpSpPr>
        <a:xfrm>
          <a:off x="0" y="0"/>
          <a:ext cx="0" cy="0"/>
          <a:chOff x="0" y="0"/>
          <a:chExt cx="0" cy="0"/>
        </a:xfrm>
      </p:grpSpPr>
      <p:sp>
        <p:nvSpPr>
          <p:cNvPr id="26" name="Text Placeholder 18">
            <a:extLst>
              <a:ext uri="{FF2B5EF4-FFF2-40B4-BE49-F238E27FC236}">
                <a16:creationId xmlns:a16="http://schemas.microsoft.com/office/drawing/2014/main" id="{9C45C550-67C8-8E0E-76B2-10F7BAEB016D}"/>
              </a:ext>
            </a:extLst>
          </p:cNvPr>
          <p:cNvSpPr>
            <a:spLocks noGrp="1"/>
          </p:cNvSpPr>
          <p:nvPr>
            <p:ph type="body" sz="quarter" idx="33"/>
          </p:nvPr>
        </p:nvSpPr>
        <p:spPr>
          <a:xfrm>
            <a:off x="8411048" y="145080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Picture Placeholder 14">
            <a:extLst>
              <a:ext uri="{FF2B5EF4-FFF2-40B4-BE49-F238E27FC236}">
                <a16:creationId xmlns:a16="http://schemas.microsoft.com/office/drawing/2014/main" id="{226A956F-BF0B-11B1-BA4F-4767F296B544}"/>
              </a:ext>
            </a:extLst>
          </p:cNvPr>
          <p:cNvSpPr>
            <a:spLocks noGrp="1" noChangeAspect="1"/>
          </p:cNvSpPr>
          <p:nvPr>
            <p:ph type="pic" sz="quarter" idx="34"/>
          </p:nvPr>
        </p:nvSpPr>
        <p:spPr>
          <a:xfrm>
            <a:off x="6170764" y="1382400"/>
            <a:ext cx="961200" cy="961200"/>
          </a:xfrm>
          <a:prstGeom prst="ellipse">
            <a:avLst/>
          </a:prstGeom>
          <a:noFill/>
        </p:spPr>
        <p:txBody>
          <a:bodyPr/>
          <a:lstStyle>
            <a:lvl1pPr>
              <a:defRPr sz="1200" b="0"/>
            </a:lvl1pPr>
          </a:lstStyle>
          <a:p>
            <a:r>
              <a:rPr lang="en-US"/>
              <a:t>Click icon to add picture</a:t>
            </a:r>
            <a:endParaRPr lang="en-GB" dirty="0"/>
          </a:p>
        </p:txBody>
      </p:sp>
      <p:sp>
        <p:nvSpPr>
          <p:cNvPr id="34" name="Picture Placeholder 11">
            <a:extLst>
              <a:ext uri="{FF2B5EF4-FFF2-40B4-BE49-F238E27FC236}">
                <a16:creationId xmlns:a16="http://schemas.microsoft.com/office/drawing/2014/main" id="{438F40B8-7652-6E88-69E0-B92FC96B5734}"/>
              </a:ext>
            </a:extLst>
          </p:cNvPr>
          <p:cNvSpPr>
            <a:spLocks noGrp="1"/>
          </p:cNvSpPr>
          <p:nvPr>
            <p:ph type="pic" sz="quarter" idx="39"/>
          </p:nvPr>
        </p:nvSpPr>
        <p:spPr>
          <a:xfrm>
            <a:off x="7373429" y="1450800"/>
            <a:ext cx="831600" cy="831600"/>
          </a:xfrm>
        </p:spPr>
        <p:txBody>
          <a:bodyPr/>
          <a:lstStyle>
            <a:lvl1pPr>
              <a:defRPr sz="1200" b="0"/>
            </a:lvl1pPr>
          </a:lstStyle>
          <a:p>
            <a:r>
              <a:rPr lang="en-US"/>
              <a:t>Click icon to add picture</a:t>
            </a:r>
            <a:endParaRPr lang="en-GB" dirty="0"/>
          </a:p>
        </p:txBody>
      </p:sp>
      <p:sp>
        <p:nvSpPr>
          <p:cNvPr id="22" name="Graphic 4">
            <a:extLst>
              <a:ext uri="{FF2B5EF4-FFF2-40B4-BE49-F238E27FC236}">
                <a16:creationId xmlns:a16="http://schemas.microsoft.com/office/drawing/2014/main" id="{33822B56-2745-A858-3257-80FB40780FCC}"/>
              </a:ext>
            </a:extLst>
          </p:cNvPr>
          <p:cNvSpPr/>
          <p:nvPr userDrawn="1"/>
        </p:nvSpPr>
        <p:spPr>
          <a:xfrm>
            <a:off x="1" y="0"/>
            <a:ext cx="6095999" cy="6858000"/>
          </a:xfrm>
          <a:custGeom>
            <a:avLst/>
            <a:gdLst>
              <a:gd name="connsiteX0" fmla="*/ 0 w 9143997"/>
              <a:gd name="connsiteY0" fmla="*/ 0 h 6858000"/>
              <a:gd name="connsiteX1" fmla="*/ 0 w 9143997"/>
              <a:gd name="connsiteY1" fmla="*/ 6858000 h 6858000"/>
              <a:gd name="connsiteX2" fmla="*/ 8864597 w 9143997"/>
              <a:gd name="connsiteY2" fmla="*/ 6858000 h 6858000"/>
              <a:gd name="connsiteX3" fmla="*/ 9143997 w 9143997"/>
              <a:gd name="connsiteY3" fmla="*/ 6578600 h 6858000"/>
              <a:gd name="connsiteX4" fmla="*/ 9143997 w 9143997"/>
              <a:gd name="connsiteY4" fmla="*/ 279400 h 6858000"/>
              <a:gd name="connsiteX5" fmla="*/ 8864597 w 9143997"/>
              <a:gd name="connsiteY5" fmla="*/ 0 h 6858000"/>
              <a:gd name="connsiteX6" fmla="*/ 0 w 914399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7" h="6858000">
                <a:moveTo>
                  <a:pt x="0" y="0"/>
                </a:moveTo>
                <a:lnTo>
                  <a:pt x="0" y="6858000"/>
                </a:lnTo>
                <a:lnTo>
                  <a:pt x="8864597" y="6858000"/>
                </a:lnTo>
                <a:cubicBezTo>
                  <a:pt x="9018903" y="6858000"/>
                  <a:pt x="9143997" y="6732906"/>
                  <a:pt x="9143997" y="6578600"/>
                </a:cubicBezTo>
                <a:lnTo>
                  <a:pt x="9143997" y="279400"/>
                </a:lnTo>
                <a:cubicBezTo>
                  <a:pt x="9143997" y="125095"/>
                  <a:pt x="9018903" y="0"/>
                  <a:pt x="8864597" y="0"/>
                </a:cubicBezTo>
                <a:lnTo>
                  <a:pt x="0" y="0"/>
                </a:lnTo>
                <a:close/>
              </a:path>
            </a:pathLst>
          </a:custGeom>
          <a:solidFill>
            <a:schemeClr val="bg1"/>
          </a:solidFill>
          <a:ln w="12700" cap="flat">
            <a:noFill/>
            <a:prstDash val="solid"/>
            <a:miter/>
          </a:ln>
        </p:spPr>
        <p:txBody>
          <a:bodyPr rtlCol="0" anchor="ctr"/>
          <a:lstStyle/>
          <a:p>
            <a:endParaRPr lang="en-GB" dirty="0"/>
          </a:p>
        </p:txBody>
      </p:sp>
      <p:sp>
        <p:nvSpPr>
          <p:cNvPr id="19" name="Text Placeholder 18">
            <a:extLst>
              <a:ext uri="{FF2B5EF4-FFF2-40B4-BE49-F238E27FC236}">
                <a16:creationId xmlns:a16="http://schemas.microsoft.com/office/drawing/2014/main" id="{8D4BCF3A-E840-FCDD-9184-2221A5C0BBC0}"/>
              </a:ext>
            </a:extLst>
          </p:cNvPr>
          <p:cNvSpPr>
            <a:spLocks noGrp="1"/>
          </p:cNvSpPr>
          <p:nvPr>
            <p:ph type="body" sz="quarter" idx="24"/>
          </p:nvPr>
        </p:nvSpPr>
        <p:spPr>
          <a:xfrm>
            <a:off x="2528019" y="1449710"/>
            <a:ext cx="2850381"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14">
            <a:extLst>
              <a:ext uri="{FF2B5EF4-FFF2-40B4-BE49-F238E27FC236}">
                <a16:creationId xmlns:a16="http://schemas.microsoft.com/office/drawing/2014/main" id="{BD243E11-8E72-D649-9697-C9981D6623BC}"/>
              </a:ext>
            </a:extLst>
          </p:cNvPr>
          <p:cNvSpPr>
            <a:spLocks noGrp="1" noChangeAspect="1"/>
          </p:cNvSpPr>
          <p:nvPr>
            <p:ph type="pic" sz="quarter" idx="25"/>
          </p:nvPr>
        </p:nvSpPr>
        <p:spPr>
          <a:xfrm>
            <a:off x="287735" y="1382189"/>
            <a:ext cx="961200" cy="961200"/>
          </a:xfrm>
          <a:prstGeom prst="ellipse">
            <a:avLst/>
          </a:prstGeom>
          <a:noFill/>
        </p:spPr>
        <p:txBody>
          <a:bodyPr/>
          <a:lstStyle>
            <a:lvl1pPr>
              <a:defRPr sz="1200" b="0"/>
            </a:lvl1pPr>
          </a:lstStyle>
          <a:p>
            <a:r>
              <a:rPr lang="en-US"/>
              <a:t>Click icon to add picture</a:t>
            </a:r>
            <a:endParaRPr lang="en-GB" dirty="0"/>
          </a:p>
        </p:txBody>
      </p:sp>
      <p:sp>
        <p:nvSpPr>
          <p:cNvPr id="18" name="Text Placeholder 18">
            <a:extLst>
              <a:ext uri="{FF2B5EF4-FFF2-40B4-BE49-F238E27FC236}">
                <a16:creationId xmlns:a16="http://schemas.microsoft.com/office/drawing/2014/main" id="{4835CDC1-F8C7-A956-0DD0-5C2E70DCE68E}"/>
              </a:ext>
            </a:extLst>
          </p:cNvPr>
          <p:cNvSpPr>
            <a:spLocks noGrp="1"/>
          </p:cNvSpPr>
          <p:nvPr>
            <p:ph type="body" sz="quarter" idx="26"/>
          </p:nvPr>
        </p:nvSpPr>
        <p:spPr>
          <a:xfrm>
            <a:off x="25272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14">
            <a:extLst>
              <a:ext uri="{FF2B5EF4-FFF2-40B4-BE49-F238E27FC236}">
                <a16:creationId xmlns:a16="http://schemas.microsoft.com/office/drawing/2014/main" id="{5628CBD7-854B-C707-E64F-D2CF8FAA03B9}"/>
              </a:ext>
            </a:extLst>
          </p:cNvPr>
          <p:cNvSpPr>
            <a:spLocks noGrp="1" noChangeAspect="1"/>
          </p:cNvSpPr>
          <p:nvPr>
            <p:ph type="pic" sz="quarter" idx="27"/>
          </p:nvPr>
        </p:nvSpPr>
        <p:spPr>
          <a:xfrm>
            <a:off x="288000" y="2968105"/>
            <a:ext cx="961200" cy="961200"/>
          </a:xfrm>
          <a:prstGeom prst="ellipse">
            <a:avLst/>
          </a:prstGeom>
          <a:noFill/>
        </p:spPr>
        <p:txBody>
          <a:bodyPr/>
          <a:lstStyle>
            <a:lvl1pPr>
              <a:defRPr sz="1200" b="0"/>
            </a:lvl1pPr>
          </a:lstStyle>
          <a:p>
            <a:r>
              <a:rPr lang="en-US"/>
              <a:t>Click icon to add picture</a:t>
            </a:r>
            <a:endParaRPr lang="en-GB" dirty="0"/>
          </a:p>
        </p:txBody>
      </p:sp>
      <p:sp>
        <p:nvSpPr>
          <p:cNvPr id="28" name="Text Placeholder 18">
            <a:extLst>
              <a:ext uri="{FF2B5EF4-FFF2-40B4-BE49-F238E27FC236}">
                <a16:creationId xmlns:a16="http://schemas.microsoft.com/office/drawing/2014/main" id="{813FB9B7-5B49-2117-D855-D5413EA85384}"/>
              </a:ext>
            </a:extLst>
          </p:cNvPr>
          <p:cNvSpPr>
            <a:spLocks noGrp="1"/>
          </p:cNvSpPr>
          <p:nvPr>
            <p:ph type="body" sz="quarter" idx="28"/>
          </p:nvPr>
        </p:nvSpPr>
        <p:spPr>
          <a:xfrm>
            <a:off x="25272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Picture Placeholder 14">
            <a:extLst>
              <a:ext uri="{FF2B5EF4-FFF2-40B4-BE49-F238E27FC236}">
                <a16:creationId xmlns:a16="http://schemas.microsoft.com/office/drawing/2014/main" id="{BCBAD1A4-79FD-DE3D-8CE3-0D4219554B32}"/>
              </a:ext>
            </a:extLst>
          </p:cNvPr>
          <p:cNvSpPr>
            <a:spLocks noGrp="1" noChangeAspect="1"/>
          </p:cNvSpPr>
          <p:nvPr>
            <p:ph type="pic" sz="quarter" idx="29"/>
          </p:nvPr>
        </p:nvSpPr>
        <p:spPr>
          <a:xfrm>
            <a:off x="288000" y="4551729"/>
            <a:ext cx="961200" cy="961200"/>
          </a:xfrm>
          <a:prstGeom prst="ellipse">
            <a:avLst/>
          </a:prstGeom>
          <a:noFill/>
        </p:spPr>
        <p:txBody>
          <a:bodyPr/>
          <a:lstStyle>
            <a:lvl1pPr>
              <a:defRPr sz="1200" b="0"/>
            </a:lvl1pPr>
          </a:lstStyle>
          <a:p>
            <a:r>
              <a:rPr lang="en-US"/>
              <a:t>Click icon to add picture</a:t>
            </a:r>
            <a:endParaRPr lang="en-GB" dirty="0"/>
          </a:p>
        </p:txBody>
      </p:sp>
      <p:sp>
        <p:nvSpPr>
          <p:cNvPr id="2" name="Titel 1">
            <a:extLst>
              <a:ext uri="{FF2B5EF4-FFF2-40B4-BE49-F238E27FC236}">
                <a16:creationId xmlns:a16="http://schemas.microsoft.com/office/drawing/2014/main" id="{C4DD0F0A-16D5-776E-3ADB-36FD3393CBD1}"/>
              </a:ext>
            </a:extLst>
          </p:cNvPr>
          <p:cNvSpPr>
            <a:spLocks noGrp="1"/>
          </p:cNvSpPr>
          <p:nvPr>
            <p:ph type="title"/>
          </p:nvPr>
        </p:nvSpPr>
        <p:spPr>
          <a:xfrm>
            <a:off x="287337" y="272485"/>
            <a:ext cx="11617200" cy="612000"/>
          </a:xfrm>
        </p:spPr>
        <p:txBody>
          <a:body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152BBF85-B16E-83A4-E1DA-F188610B5859}"/>
              </a:ext>
            </a:extLst>
          </p:cNvPr>
          <p:cNvSpPr>
            <a:spLocks noGrp="1"/>
          </p:cNvSpPr>
          <p:nvPr>
            <p:ph type="ftr" sz="quarter" idx="15"/>
          </p:nvPr>
        </p:nvSpPr>
        <p:spPr>
          <a:xfrm>
            <a:off x="1278000" y="6450420"/>
            <a:ext cx="4063737" cy="144000"/>
          </a:xfrm>
        </p:spPr>
        <p:txBody>
          <a:bodyPr/>
          <a:lstStyle/>
          <a:p>
            <a:endParaRPr lang="en-GB" noProof="0" dirty="0"/>
          </a:p>
        </p:txBody>
      </p:sp>
      <p:sp>
        <p:nvSpPr>
          <p:cNvPr id="8" name="Slide Number Placeholder 7">
            <a:extLst>
              <a:ext uri="{FF2B5EF4-FFF2-40B4-BE49-F238E27FC236}">
                <a16:creationId xmlns:a16="http://schemas.microsoft.com/office/drawing/2014/main" id="{312FDCBB-7447-B9D7-407C-707AD8CDF5C7}"/>
              </a:ext>
            </a:extLst>
          </p:cNvPr>
          <p:cNvSpPr>
            <a:spLocks noGrp="1"/>
          </p:cNvSpPr>
          <p:nvPr>
            <p:ph type="sldNum" sz="quarter" idx="16"/>
          </p:nvPr>
        </p:nvSpPr>
        <p:spPr/>
        <p:txBody>
          <a:bodyPr/>
          <a:lstStyle/>
          <a:p>
            <a:fld id="{9A0F3412-00EB-454F-952B-1EB5D3D69307}" type="slidenum">
              <a:rPr lang="en-GB" noProof="0" smtClean="0"/>
              <a:pPr/>
              <a:t>‹Nº›</a:t>
            </a:fld>
            <a:endParaRPr lang="en-GB" noProof="0" dirty="0"/>
          </a:p>
        </p:txBody>
      </p:sp>
      <p:sp>
        <p:nvSpPr>
          <p:cNvPr id="4" name="Rectangle 3">
            <a:extLst>
              <a:ext uri="{FF2B5EF4-FFF2-40B4-BE49-F238E27FC236}">
                <a16:creationId xmlns:a16="http://schemas.microsoft.com/office/drawing/2014/main" id="{5C697F8B-7D49-E806-0B98-F3B6AFD17709}"/>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6C3909B6-6900-6B25-A7C5-5D16C089558F}"/>
              </a:ext>
            </a:extLst>
          </p:cNvPr>
          <p:cNvSpPr>
            <a:spLocks noGrp="1"/>
          </p:cNvSpPr>
          <p:nvPr>
            <p:ph type="pic" sz="quarter" idx="30"/>
          </p:nvPr>
        </p:nvSpPr>
        <p:spPr>
          <a:xfrm>
            <a:off x="1490400" y="1450800"/>
            <a:ext cx="831600" cy="831600"/>
          </a:xfrm>
        </p:spPr>
        <p:txBody>
          <a:bodyPr/>
          <a:lstStyle>
            <a:lvl1pPr>
              <a:defRPr sz="1200" b="0"/>
            </a:lvl1pPr>
          </a:lstStyle>
          <a:p>
            <a:r>
              <a:rPr lang="en-US"/>
              <a:t>Click icon to add picture</a:t>
            </a:r>
            <a:endParaRPr lang="en-GB" dirty="0"/>
          </a:p>
        </p:txBody>
      </p:sp>
      <p:sp>
        <p:nvSpPr>
          <p:cNvPr id="13" name="Picture Placeholder 11">
            <a:extLst>
              <a:ext uri="{FF2B5EF4-FFF2-40B4-BE49-F238E27FC236}">
                <a16:creationId xmlns:a16="http://schemas.microsoft.com/office/drawing/2014/main" id="{E91E32B3-D028-E1C6-CA1D-3EBFA9BD27A7}"/>
              </a:ext>
            </a:extLst>
          </p:cNvPr>
          <p:cNvSpPr>
            <a:spLocks noGrp="1"/>
          </p:cNvSpPr>
          <p:nvPr>
            <p:ph type="pic" sz="quarter" idx="31"/>
          </p:nvPr>
        </p:nvSpPr>
        <p:spPr>
          <a:xfrm>
            <a:off x="1490400" y="3034800"/>
            <a:ext cx="831600" cy="831600"/>
          </a:xfrm>
        </p:spPr>
        <p:txBody>
          <a:bodyPr/>
          <a:lstStyle>
            <a:lvl1pPr>
              <a:defRPr sz="1200" b="0"/>
            </a:lvl1pPr>
          </a:lstStyle>
          <a:p>
            <a:r>
              <a:rPr lang="en-US"/>
              <a:t>Click icon to add picture</a:t>
            </a:r>
            <a:endParaRPr lang="en-GB" dirty="0"/>
          </a:p>
        </p:txBody>
      </p:sp>
      <p:sp>
        <p:nvSpPr>
          <p:cNvPr id="14" name="Picture Placeholder 11">
            <a:extLst>
              <a:ext uri="{FF2B5EF4-FFF2-40B4-BE49-F238E27FC236}">
                <a16:creationId xmlns:a16="http://schemas.microsoft.com/office/drawing/2014/main" id="{C517D935-6131-7EA8-AED7-A6ED7082FEF8}"/>
              </a:ext>
            </a:extLst>
          </p:cNvPr>
          <p:cNvSpPr>
            <a:spLocks noGrp="1"/>
          </p:cNvSpPr>
          <p:nvPr>
            <p:ph type="pic" sz="quarter" idx="32"/>
          </p:nvPr>
        </p:nvSpPr>
        <p:spPr>
          <a:xfrm>
            <a:off x="1490400" y="4618800"/>
            <a:ext cx="831600" cy="831600"/>
          </a:xfrm>
        </p:spPr>
        <p:txBody>
          <a:bodyPr/>
          <a:lstStyle>
            <a:lvl1pPr>
              <a:defRPr sz="1200" b="0"/>
            </a:lvl1pPr>
          </a:lstStyle>
          <a:p>
            <a:r>
              <a:rPr lang="en-US"/>
              <a:t>Click icon to add picture</a:t>
            </a:r>
            <a:endParaRPr lang="en-GB" dirty="0"/>
          </a:p>
        </p:txBody>
      </p:sp>
      <p:sp>
        <p:nvSpPr>
          <p:cNvPr id="30" name="Text Placeholder 18">
            <a:extLst>
              <a:ext uri="{FF2B5EF4-FFF2-40B4-BE49-F238E27FC236}">
                <a16:creationId xmlns:a16="http://schemas.microsoft.com/office/drawing/2014/main" id="{6066C757-B811-657B-3587-2CB2D5EE6710}"/>
              </a:ext>
            </a:extLst>
          </p:cNvPr>
          <p:cNvSpPr>
            <a:spLocks noGrp="1"/>
          </p:cNvSpPr>
          <p:nvPr>
            <p:ph type="body" sz="quarter" idx="35"/>
          </p:nvPr>
        </p:nvSpPr>
        <p:spPr>
          <a:xfrm>
            <a:off x="8409600" y="3034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Picture Placeholder 14">
            <a:extLst>
              <a:ext uri="{FF2B5EF4-FFF2-40B4-BE49-F238E27FC236}">
                <a16:creationId xmlns:a16="http://schemas.microsoft.com/office/drawing/2014/main" id="{D75DA5FC-FAB4-BE50-0AF6-4801151645F3}"/>
              </a:ext>
            </a:extLst>
          </p:cNvPr>
          <p:cNvSpPr>
            <a:spLocks noGrp="1" noChangeAspect="1"/>
          </p:cNvSpPr>
          <p:nvPr>
            <p:ph type="pic" sz="quarter" idx="36"/>
          </p:nvPr>
        </p:nvSpPr>
        <p:spPr>
          <a:xfrm>
            <a:off x="6170400" y="2970000"/>
            <a:ext cx="961200" cy="961200"/>
          </a:xfrm>
          <a:prstGeom prst="ellipse">
            <a:avLst/>
          </a:prstGeom>
          <a:noFill/>
        </p:spPr>
        <p:txBody>
          <a:bodyPr/>
          <a:lstStyle>
            <a:lvl1pPr>
              <a:defRPr sz="1200" b="0"/>
            </a:lvl1pPr>
          </a:lstStyle>
          <a:p>
            <a:r>
              <a:rPr lang="en-US"/>
              <a:t>Click icon to add picture</a:t>
            </a:r>
            <a:endParaRPr lang="en-GB" dirty="0"/>
          </a:p>
        </p:txBody>
      </p:sp>
      <p:sp>
        <p:nvSpPr>
          <p:cNvPr id="32" name="Text Placeholder 18">
            <a:extLst>
              <a:ext uri="{FF2B5EF4-FFF2-40B4-BE49-F238E27FC236}">
                <a16:creationId xmlns:a16="http://schemas.microsoft.com/office/drawing/2014/main" id="{553B8A1D-0F52-FC28-B579-9725A8C28F57}"/>
              </a:ext>
            </a:extLst>
          </p:cNvPr>
          <p:cNvSpPr>
            <a:spLocks noGrp="1"/>
          </p:cNvSpPr>
          <p:nvPr>
            <p:ph type="body" sz="quarter" idx="37"/>
          </p:nvPr>
        </p:nvSpPr>
        <p:spPr>
          <a:xfrm>
            <a:off x="8409600" y="4618800"/>
            <a:ext cx="2851200" cy="1080705"/>
          </a:xfrm>
        </p:spPr>
        <p:txBody>
          <a:bodyPr/>
          <a:lstStyle>
            <a:lvl1pPr>
              <a:spcAft>
                <a:spcPts val="0"/>
              </a:spcAft>
              <a:defRPr sz="1200">
                <a:solidFill>
                  <a:schemeClr val="tx2"/>
                </a:solidFill>
              </a:defRPr>
            </a:lvl1pPr>
            <a:lvl2pPr marL="0" indent="0">
              <a:spcAft>
                <a:spcPts val="1400"/>
              </a:spcAft>
              <a:buNone/>
              <a:defRPr sz="1200">
                <a:solidFill>
                  <a:schemeClr val="tx2"/>
                </a:solidFill>
              </a:defRPr>
            </a:lvl2pPr>
            <a:lvl3pPr marL="0" indent="0">
              <a:spcAft>
                <a:spcPts val="0"/>
              </a:spcAft>
              <a:buNone/>
              <a:defRPr sz="1200">
                <a:solidFill>
                  <a:schemeClr val="tx2"/>
                </a:solidFill>
              </a:defRPr>
            </a:lvl3pPr>
            <a:lvl4pPr marL="0" indent="0">
              <a:spcAft>
                <a:spcPts val="0"/>
              </a:spcAft>
              <a:buNone/>
              <a:defRPr sz="1200">
                <a:solidFill>
                  <a:schemeClr val="tx2"/>
                </a:solidFill>
              </a:defRPr>
            </a:lvl4pPr>
            <a:lvl5pPr algn="l">
              <a:spcAft>
                <a:spcPts val="0"/>
              </a:spcAft>
              <a:defRPr sz="1200" b="0">
                <a:solidFill>
                  <a:schemeClr val="tx2"/>
                </a:solidFill>
              </a:defRPr>
            </a:lvl5pPr>
            <a:lvl6pPr algn="l">
              <a:spcAft>
                <a:spcPts val="0"/>
              </a:spcAft>
              <a:defRPr sz="1200" b="0">
                <a:solidFill>
                  <a:schemeClr val="tx2"/>
                </a:solidFill>
              </a:defRPr>
            </a:lvl6pPr>
            <a:lvl7pPr algn="l">
              <a:spcAft>
                <a:spcPts val="0"/>
              </a:spcAft>
              <a:defRPr sz="1200" b="0">
                <a:solidFill>
                  <a:schemeClr val="tx2"/>
                </a:solidFill>
              </a:defRPr>
            </a:lvl7pPr>
            <a:lvl8pPr algn="l">
              <a:spcAft>
                <a:spcPts val="0"/>
              </a:spcAft>
              <a:defRPr sz="1200">
                <a:solidFill>
                  <a:schemeClr val="tx2"/>
                </a:solidFill>
              </a:defRPr>
            </a:lvl8pPr>
            <a:lvl9pPr algn="l">
              <a:lnSpc>
                <a:spcPct val="100000"/>
              </a:lnSpc>
              <a:defRPr sz="12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14">
            <a:extLst>
              <a:ext uri="{FF2B5EF4-FFF2-40B4-BE49-F238E27FC236}">
                <a16:creationId xmlns:a16="http://schemas.microsoft.com/office/drawing/2014/main" id="{BFE1E6D1-EC3E-D0A2-7C0B-A87A65F18092}"/>
              </a:ext>
            </a:extLst>
          </p:cNvPr>
          <p:cNvSpPr>
            <a:spLocks noGrp="1" noChangeAspect="1"/>
          </p:cNvSpPr>
          <p:nvPr>
            <p:ph type="pic" sz="quarter" idx="38"/>
          </p:nvPr>
        </p:nvSpPr>
        <p:spPr>
          <a:xfrm>
            <a:off x="6170400" y="4550400"/>
            <a:ext cx="961200" cy="961200"/>
          </a:xfrm>
          <a:prstGeom prst="ellipse">
            <a:avLst/>
          </a:prstGeom>
          <a:noFill/>
        </p:spPr>
        <p:txBody>
          <a:bodyPr/>
          <a:lstStyle>
            <a:lvl1pPr>
              <a:defRPr sz="1200" b="0"/>
            </a:lvl1pPr>
          </a:lstStyle>
          <a:p>
            <a:r>
              <a:rPr lang="en-US"/>
              <a:t>Click icon to add picture</a:t>
            </a:r>
            <a:endParaRPr lang="en-GB" dirty="0"/>
          </a:p>
        </p:txBody>
      </p:sp>
      <p:sp>
        <p:nvSpPr>
          <p:cNvPr id="35" name="Picture Placeholder 11">
            <a:extLst>
              <a:ext uri="{FF2B5EF4-FFF2-40B4-BE49-F238E27FC236}">
                <a16:creationId xmlns:a16="http://schemas.microsoft.com/office/drawing/2014/main" id="{C3D8EE79-660C-D0CF-5B57-462E641198C5}"/>
              </a:ext>
            </a:extLst>
          </p:cNvPr>
          <p:cNvSpPr>
            <a:spLocks noGrp="1"/>
          </p:cNvSpPr>
          <p:nvPr>
            <p:ph type="pic" sz="quarter" idx="40"/>
          </p:nvPr>
        </p:nvSpPr>
        <p:spPr>
          <a:xfrm>
            <a:off x="7372800" y="3034800"/>
            <a:ext cx="831600" cy="831600"/>
          </a:xfrm>
        </p:spPr>
        <p:txBody>
          <a:bodyPr/>
          <a:lstStyle>
            <a:lvl1pPr>
              <a:defRPr sz="1200" b="0"/>
            </a:lvl1pPr>
          </a:lstStyle>
          <a:p>
            <a:r>
              <a:rPr lang="en-US"/>
              <a:t>Click icon to add picture</a:t>
            </a:r>
            <a:endParaRPr lang="en-GB" dirty="0"/>
          </a:p>
        </p:txBody>
      </p:sp>
      <p:sp>
        <p:nvSpPr>
          <p:cNvPr id="36" name="Picture Placeholder 11">
            <a:extLst>
              <a:ext uri="{FF2B5EF4-FFF2-40B4-BE49-F238E27FC236}">
                <a16:creationId xmlns:a16="http://schemas.microsoft.com/office/drawing/2014/main" id="{7BA30EF2-DB58-8C3A-3BAA-2769229A1D49}"/>
              </a:ext>
            </a:extLst>
          </p:cNvPr>
          <p:cNvSpPr>
            <a:spLocks noGrp="1"/>
          </p:cNvSpPr>
          <p:nvPr>
            <p:ph type="pic" sz="quarter" idx="41"/>
          </p:nvPr>
        </p:nvSpPr>
        <p:spPr>
          <a:xfrm>
            <a:off x="7372800" y="4618800"/>
            <a:ext cx="831600" cy="831600"/>
          </a:xfrm>
        </p:spPr>
        <p:txBody>
          <a:bodyPr/>
          <a:lstStyle>
            <a:lvl1pPr>
              <a:defRPr sz="1200" b="0"/>
            </a:lvl1pPr>
          </a:lstStyle>
          <a:p>
            <a:r>
              <a:rPr lang="en-US"/>
              <a:t>Click icon to add picture</a:t>
            </a:r>
            <a:endParaRPr lang="en-GB" dirty="0"/>
          </a:p>
        </p:txBody>
      </p:sp>
    </p:spTree>
    <p:extLst>
      <p:ext uri="{BB962C8B-B14F-4D97-AF65-F5344CB8AC3E}">
        <p14:creationId xmlns:p14="http://schemas.microsoft.com/office/powerpoint/2010/main" val="3715051223"/>
      </p:ext>
    </p:extLst>
  </p:cSld>
  <p:clrMapOvr>
    <a:masterClrMapping/>
  </p:clrMapOvr>
  <p:extLst>
    <p:ext uri="{DCECCB84-F9BA-43D5-87BE-67443E8EF086}">
      <p15:sldGuideLst xmlns:p15="http://schemas.microsoft.com/office/powerpoint/2012/main">
        <p15:guide id="1" pos="3881">
          <p15:clr>
            <a:srgbClr val="FFC000"/>
          </p15:clr>
        </p15:guide>
        <p15:guide id="2" pos="5289">
          <p15:clr>
            <a:srgbClr val="FFC000"/>
          </p15:clr>
        </p15:guide>
        <p15:guide id="3" pos="4633">
          <p15:clr>
            <a:srgbClr val="FFC000"/>
          </p15:clr>
        </p15:guide>
        <p15:guide id="4" pos="7095">
          <p15:clr>
            <a:srgbClr val="FFC000"/>
          </p15:clr>
        </p15:guide>
        <p15:guide id="5" pos="1590">
          <p15:clr>
            <a:srgbClr val="FFC000"/>
          </p15:clr>
        </p15:guide>
        <p15:guide id="6" pos="933">
          <p15:clr>
            <a:srgbClr val="FFC000"/>
          </p15:clr>
        </p15:guide>
        <p15:guide id="7" pos="3395">
          <p15:clr>
            <a:srgbClr val="FFC000"/>
          </p15:clr>
        </p15:guide>
        <p15:guide id="8" orient="horz" pos="2904">
          <p15:clr>
            <a:srgbClr val="FFC000"/>
          </p15:clr>
        </p15:guide>
        <p15:guide id="9" orient="horz" pos="1898">
          <p15:clr>
            <a:srgbClr val="FFC000"/>
          </p15:clr>
        </p15:guide>
        <p15:guide id="10" orient="horz" pos="906">
          <p15:clr>
            <a:srgbClr val="FFC000"/>
          </p15:clr>
        </p15:guide>
        <p15:guide id="11" orient="horz" pos="865">
          <p15:clr>
            <a:srgbClr val="FFC000"/>
          </p15:clr>
        </p15:guide>
        <p15:guide id="12" orient="horz" pos="3958">
          <p15:clr>
            <a:srgbClr val="FFC000"/>
          </p15:clr>
        </p15:guide>
        <p15:guide id="13" pos="7500">
          <p15:clr>
            <a:srgbClr val="FFC000"/>
          </p15:clr>
        </p15:guide>
        <p15:guide id="14" pos="181">
          <p15:clr>
            <a:srgbClr val="FFC000"/>
          </p15:clr>
        </p15:guide>
        <p15:guide id="15" orient="horz" pos="4142">
          <p15:clr>
            <a:srgbClr val="FFC000"/>
          </p15:clr>
        </p15:guide>
        <p15:guide id="16" orient="horz" pos="169">
          <p15:clr>
            <a:srgbClr val="FFC00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BCED6-8891-A832-3C0A-9345E3B251EE}"/>
              </a:ext>
            </a:extLst>
          </p:cNvPr>
          <p:cNvSpPr>
            <a:spLocks noGrp="1"/>
          </p:cNvSpPr>
          <p:nvPr>
            <p:ph type="title"/>
          </p:nvPr>
        </p:nvSpPr>
        <p:spPr>
          <a:xfrm>
            <a:off x="287337" y="272485"/>
            <a:ext cx="11615737" cy="612000"/>
          </a:xfrm>
        </p:spPr>
        <p:txBody>
          <a:bodyPr/>
          <a:lstStyle/>
          <a:p>
            <a:r>
              <a:rPr lang="en-US" noProof="0"/>
              <a:t>Click to edit Master title style</a:t>
            </a:r>
            <a:endParaRPr lang="en-GB" noProof="0" dirty="0"/>
          </a:p>
        </p:txBody>
      </p:sp>
      <p:sp>
        <p:nvSpPr>
          <p:cNvPr id="22" name="Rectangle 21">
            <a:extLst>
              <a:ext uri="{FF2B5EF4-FFF2-40B4-BE49-F238E27FC236}">
                <a16:creationId xmlns:a16="http://schemas.microsoft.com/office/drawing/2014/main" id="{27975940-1288-FF90-7A5E-C4F6F23C3282}"/>
              </a:ext>
            </a:extLst>
          </p:cNvPr>
          <p:cNvSpPr/>
          <p:nvPr userDrawn="1"/>
        </p:nvSpPr>
        <p:spPr>
          <a:xfrm>
            <a:off x="287338" y="1036800"/>
            <a:ext cx="2617200" cy="252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 name="Footer Placeholder 6">
            <a:extLst>
              <a:ext uri="{FF2B5EF4-FFF2-40B4-BE49-F238E27FC236}">
                <a16:creationId xmlns:a16="http://schemas.microsoft.com/office/drawing/2014/main" id="{99F3BD1D-1CC2-2F07-D67E-F6637C2FBA0D}"/>
              </a:ext>
            </a:extLst>
          </p:cNvPr>
          <p:cNvSpPr>
            <a:spLocks noGrp="1"/>
          </p:cNvSpPr>
          <p:nvPr>
            <p:ph type="ftr" sz="quarter" idx="10"/>
          </p:nvPr>
        </p:nvSpPr>
        <p:spPr/>
        <p:txBody>
          <a:bodyPr/>
          <a:lstStyle/>
          <a:p>
            <a:endParaRPr lang="en-GB" noProof="0" dirty="0"/>
          </a:p>
        </p:txBody>
      </p:sp>
      <p:sp>
        <p:nvSpPr>
          <p:cNvPr id="8" name="Slide Number Placeholder 7">
            <a:extLst>
              <a:ext uri="{FF2B5EF4-FFF2-40B4-BE49-F238E27FC236}">
                <a16:creationId xmlns:a16="http://schemas.microsoft.com/office/drawing/2014/main" id="{E387CFEA-9729-4263-17A0-DA881A8DA15A}"/>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525475482"/>
      </p:ext>
    </p:extLst>
  </p:cSld>
  <p:clrMapOvr>
    <a:masterClrMapping/>
  </p:clrMapOvr>
  <p:extLst>
    <p:ext uri="{DCECCB84-F9BA-43D5-87BE-67443E8EF086}">
      <p15:sldGuideLst xmlns:p15="http://schemas.microsoft.com/office/powerpoint/2012/main">
        <p15:guide id="1" pos="7499">
          <p15:clr>
            <a:srgbClr val="FFC000"/>
          </p15:clr>
        </p15:guide>
        <p15:guide id="2" pos="2503">
          <p15:clr>
            <a:srgbClr val="FFC000"/>
          </p15:clr>
        </p15:guide>
        <p15:guide id="3" pos="2071">
          <p15:clr>
            <a:srgbClr val="FFC000"/>
          </p15:clr>
        </p15:guide>
        <p15:guide id="4" pos="1891">
          <p15:clr>
            <a:srgbClr val="FFC000"/>
          </p15:clr>
        </p15:guide>
        <p15:guide id="5" pos="1436">
          <p15:clr>
            <a:srgbClr val="FFC000"/>
          </p15:clr>
        </p15:guide>
        <p15:guide id="6" pos="1255">
          <p15:clr>
            <a:srgbClr val="FFC000"/>
          </p15:clr>
        </p15:guide>
        <p15:guide id="7" pos="804">
          <p15:clr>
            <a:srgbClr val="FFC000"/>
          </p15:clr>
        </p15:guide>
        <p15:guide id="8" pos="620">
          <p15:clr>
            <a:srgbClr val="FFC000"/>
          </p15:clr>
        </p15:guide>
        <p15:guide id="9" pos="181">
          <p15:clr>
            <a:srgbClr val="FFC000"/>
          </p15:clr>
        </p15:guide>
        <p15:guide id="10" pos="2684">
          <p15:clr>
            <a:srgbClr val="FFC000"/>
          </p15:clr>
        </p15:guide>
        <p15:guide id="11" pos="3295">
          <p15:clr>
            <a:srgbClr val="FFC000"/>
          </p15:clr>
        </p15:guide>
        <p15:guide id="12" pos="3113">
          <p15:clr>
            <a:srgbClr val="FFC000"/>
          </p15:clr>
        </p15:guide>
        <p15:guide id="13" pos="3751">
          <p15:clr>
            <a:srgbClr val="FFC000"/>
          </p15:clr>
        </p15:guide>
        <p15:guide id="14" pos="7061">
          <p15:clr>
            <a:srgbClr val="FFC000"/>
          </p15:clr>
        </p15:guide>
        <p15:guide id="15" pos="6901">
          <p15:clr>
            <a:srgbClr val="FFC000"/>
          </p15:clr>
        </p15:guide>
        <p15:guide id="16" pos="6449">
          <p15:clr>
            <a:srgbClr val="FFC000"/>
          </p15:clr>
        </p15:guide>
        <p15:guide id="17" pos="6269">
          <p15:clr>
            <a:srgbClr val="FFC000"/>
          </p15:clr>
        </p15:guide>
        <p15:guide id="18" pos="5816">
          <p15:clr>
            <a:srgbClr val="FFC000"/>
          </p15:clr>
        </p15:guide>
        <p15:guide id="19" pos="5634">
          <p15:clr>
            <a:srgbClr val="FFC000"/>
          </p15:clr>
        </p15:guide>
        <p15:guide id="20" pos="5178">
          <p15:clr>
            <a:srgbClr val="FFC000"/>
          </p15:clr>
        </p15:guide>
        <p15:guide id="21" pos="4998">
          <p15:clr>
            <a:srgbClr val="FFC000"/>
          </p15:clr>
        </p15:guide>
        <p15:guide id="22" pos="4544">
          <p15:clr>
            <a:srgbClr val="FFC000"/>
          </p15:clr>
        </p15:guide>
        <p15:guide id="23" pos="4385">
          <p15:clr>
            <a:srgbClr val="FFC000"/>
          </p15:clr>
        </p15:guide>
        <p15:guide id="24" pos="3931">
          <p15:clr>
            <a:srgbClr val="FFC000"/>
          </p15:clr>
        </p15:guide>
        <p15:guide id="25" orient="horz" pos="4141">
          <p15:clr>
            <a:srgbClr val="FFC000"/>
          </p15:clr>
        </p15:guide>
        <p15:guide id="26" orient="horz" pos="3962">
          <p15:clr>
            <a:srgbClr val="FFC000"/>
          </p15:clr>
        </p15:guide>
        <p15:guide id="27" orient="horz" pos="166">
          <p15:clr>
            <a:srgbClr val="FFC00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2531175731"/>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light">
    <p:bg>
      <p:bgPr>
        <a:solidFill>
          <a:schemeClr val="accent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4" name="Grafik 10">
            <a:extLst>
              <a:ext uri="{FF2B5EF4-FFF2-40B4-BE49-F238E27FC236}">
                <a16:creationId xmlns:a16="http://schemas.microsoft.com/office/drawing/2014/main" id="{1BAE6905-FD07-5B0D-CB7E-5FE54EA1EA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3978155712"/>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3C3E0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11625086"/>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Gray">
    <p:bg>
      <p:bgPr>
        <a:solidFill>
          <a:srgbClr val="F1F1F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p>
            <a:endParaRPr lang="en-GB" noProof="0"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p>
            <a:fld id="{9A0F3412-00EB-454F-952B-1EB5D3D69307}" type="slidenum">
              <a:rPr lang="en-GB" noProof="0" smtClean="0"/>
              <a:pPr/>
              <a:t>‹Nº›</a:t>
            </a:fld>
            <a:endParaRPr lang="en-GB" noProof="0" dirty="0"/>
          </a:p>
        </p:txBody>
      </p:sp>
    </p:spTree>
    <p:extLst>
      <p:ext uri="{BB962C8B-B14F-4D97-AF65-F5344CB8AC3E}">
        <p14:creationId xmlns:p14="http://schemas.microsoft.com/office/powerpoint/2010/main" val="417556094"/>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Dark Blue">
    <p:bg>
      <p:bgPr>
        <a:solidFill>
          <a:srgbClr val="003C70"/>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DE708F-318D-DB3A-6E2A-BE8A9C18B030}"/>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B99F5C0C-0D1F-97BE-AC4B-280BC2E463E6}"/>
              </a:ext>
            </a:extLst>
          </p:cNvPr>
          <p:cNvSpPr>
            <a:spLocks noGrp="1"/>
          </p:cNvSpPr>
          <p:nvPr>
            <p:ph type="sldNum" sz="quarter" idx="11"/>
          </p:nvPr>
        </p:nvSpPr>
        <p:spPr/>
        <p:txBody>
          <a:bodyPr/>
          <a:lstStyle>
            <a:lvl1pPr>
              <a:defRPr>
                <a:solidFill>
                  <a:schemeClr val="bg1"/>
                </a:solidFill>
              </a:defRPr>
            </a:lvl1pPr>
          </a:lstStyle>
          <a:p>
            <a:fld id="{9A0F3412-00EB-454F-952B-1EB5D3D69307}" type="slidenum">
              <a:rPr lang="en-GB" smtClean="0"/>
              <a:pPr/>
              <a:t>‹Nº›</a:t>
            </a:fld>
            <a:endParaRPr lang="en-GB" dirty="0"/>
          </a:p>
        </p:txBody>
      </p:sp>
      <p:pic>
        <p:nvPicPr>
          <p:cNvPr id="2" name="Grafik 10">
            <a:extLst>
              <a:ext uri="{FF2B5EF4-FFF2-40B4-BE49-F238E27FC236}">
                <a16:creationId xmlns:a16="http://schemas.microsoft.com/office/drawing/2014/main" id="{6971360E-DEC6-482A-0192-70EC9DBBF4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51366" y="6421753"/>
            <a:ext cx="1152841" cy="151690"/>
          </a:xfrm>
          <a:prstGeom prst="rect">
            <a:avLst/>
          </a:prstGeom>
        </p:spPr>
      </p:pic>
    </p:spTree>
    <p:extLst>
      <p:ext uri="{BB962C8B-B14F-4D97-AF65-F5344CB8AC3E}">
        <p14:creationId xmlns:p14="http://schemas.microsoft.com/office/powerpoint/2010/main" val="1060659283"/>
      </p:ext>
    </p:extLst>
  </p:cSld>
  <p:clrMapOvr>
    <a:masterClrMapping/>
  </p:clrMapOvr>
  <p:extLst>
    <p:ext uri="{DCECCB84-F9BA-43D5-87BE-67443E8EF086}">
      <p15:sldGuideLst xmlns:p15="http://schemas.microsoft.com/office/powerpoint/2012/main">
        <p15:guide id="1" pos="7500">
          <p15:clr>
            <a:srgbClr val="FFC000"/>
          </p15:clr>
        </p15:guide>
        <p15:guide id="2" pos="181">
          <p15:clr>
            <a:srgbClr val="FFC000"/>
          </p15:clr>
        </p15:guide>
        <p15:guide id="3" orient="horz" pos="4142">
          <p15:clr>
            <a:srgbClr val="FFC000"/>
          </p15:clr>
        </p15:guide>
        <p15:guide id="4" orient="horz" pos="169">
          <p15:clr>
            <a:srgbClr val="FFC00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3C3E00"/>
        </a:solidFill>
        <a:effectLst/>
      </p:bgPr>
    </p:bg>
    <p:spTree>
      <p:nvGrpSpPr>
        <p:cNvPr id="1" name=""/>
        <p:cNvGrpSpPr/>
        <p:nvPr/>
      </p:nvGrpSpPr>
      <p:grpSpPr>
        <a:xfrm>
          <a:off x="0" y="0"/>
          <a:ext cx="0" cy="0"/>
          <a:chOff x="0" y="0"/>
          <a:chExt cx="0" cy="0"/>
        </a:xfrm>
      </p:grpSpPr>
      <p:pic>
        <p:nvPicPr>
          <p:cNvPr id="3" name="Grafik 10">
            <a:extLst>
              <a:ext uri="{FF2B5EF4-FFF2-40B4-BE49-F238E27FC236}">
                <a16:creationId xmlns:a16="http://schemas.microsoft.com/office/drawing/2014/main" id="{B94BCFD9-747C-BA52-E311-DE236FD4E5F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358645" y="3200400"/>
            <a:ext cx="3474710" cy="457200"/>
          </a:xfrm>
          <a:prstGeom prst="rect">
            <a:avLst/>
          </a:prstGeom>
        </p:spPr>
      </p:pic>
    </p:spTree>
    <p:extLst>
      <p:ext uri="{BB962C8B-B14F-4D97-AF65-F5344CB8AC3E}">
        <p14:creationId xmlns:p14="http://schemas.microsoft.com/office/powerpoint/2010/main" val="126061850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tx2"/>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525" y="3024913"/>
            <a:ext cx="5310000" cy="1800000"/>
          </a:xfrm>
        </p:spPr>
        <p:txBody>
          <a:bodyPr tIns="259200"/>
          <a:lstStyle>
            <a:lvl1pPr marL="0" indent="0" algn="l">
              <a:lnSpc>
                <a:spcPct val="100000"/>
              </a:lnSpc>
              <a:spcAft>
                <a:spcPts val="1600"/>
              </a:spcAft>
              <a:buNone/>
              <a:defRPr sz="1400">
                <a:solidFill>
                  <a:schemeClr val="tx2"/>
                </a:solidFill>
              </a:defRPr>
            </a:lvl1pPr>
            <a:lvl2pPr marL="0" indent="0" algn="l">
              <a:lnSpc>
                <a:spcPct val="100000"/>
              </a:lnSpc>
              <a:spcAft>
                <a:spcPts val="0"/>
              </a:spcAft>
              <a:buNone/>
              <a:defRPr sz="1400"/>
            </a:lvl2pPr>
            <a:lvl3pPr marL="0" indent="0" algn="l">
              <a:lnSpc>
                <a:spcPct val="100000"/>
              </a:lnSpc>
              <a:spcAft>
                <a:spcPts val="0"/>
              </a:spcAft>
              <a:buNone/>
              <a:defRPr sz="1400"/>
            </a:lvl3pPr>
            <a:lvl4pPr marL="0" indent="0" algn="l">
              <a:lnSpc>
                <a:spcPct val="100000"/>
              </a:lnSpc>
              <a:spcAft>
                <a:spcPts val="0"/>
              </a:spcAft>
              <a:buNone/>
              <a:defRPr sz="1400" b="0"/>
            </a:lvl4pPr>
            <a:lvl5pPr marL="0" indent="0" algn="l">
              <a:lnSpc>
                <a:spcPct val="100000"/>
              </a:lnSpc>
              <a:spcAft>
                <a:spcPts val="0"/>
              </a:spcAft>
              <a:buNone/>
              <a:defRPr sz="1400"/>
            </a:lvl5pPr>
            <a:lvl6pPr marL="0" indent="0" algn="l">
              <a:lnSpc>
                <a:spcPct val="100000"/>
              </a:lnSpc>
              <a:spcAft>
                <a:spcPts val="0"/>
              </a:spcAft>
              <a:buNone/>
              <a:defRPr sz="1400"/>
            </a:lvl6pPr>
            <a:lvl7pPr marL="0" indent="0" algn="l">
              <a:lnSpc>
                <a:spcPct val="100000"/>
              </a:lnSpc>
              <a:buNone/>
              <a:defRPr sz="1400"/>
            </a:lvl7pPr>
            <a:lvl8pPr marL="0" indent="0" algn="l">
              <a:lnSpc>
                <a:spcPct val="100000"/>
              </a:lnSpc>
              <a:buNone/>
              <a:defRPr sz="1400"/>
            </a:lvl8pPr>
            <a:lvl9pPr marL="0" indent="0" algn="l">
              <a:lnSpc>
                <a:spcPct val="100000"/>
              </a:lnSpc>
              <a:buNone/>
              <a:defRPr sz="1400"/>
            </a:lvl9pPr>
          </a:lstStyle>
          <a:p>
            <a:pPr lvl="0"/>
            <a:r>
              <a:rPr lang="en-US"/>
              <a:t>Click to edit Master subtitle style</a:t>
            </a:r>
            <a:endParaRPr lang="en-GB" dirty="0"/>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338" y="283377"/>
            <a:ext cx="2311200"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A68FFC5-B3C2-494C-58EE-8E70F9FDCA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15" y="6440208"/>
            <a:ext cx="1515600" cy="166761"/>
          </a:xfrm>
          <a:prstGeom prst="rect">
            <a:avLst/>
          </a:prstGeom>
        </p:spPr>
      </p:pic>
    </p:spTree>
    <p:extLst>
      <p:ext uri="{BB962C8B-B14F-4D97-AF65-F5344CB8AC3E}">
        <p14:creationId xmlns:p14="http://schemas.microsoft.com/office/powerpoint/2010/main" val="4161372344"/>
      </p:ext>
    </p:extLst>
  </p:cSld>
  <p:clrMapOvr>
    <a:masterClrMapping/>
  </p:clrMapOvr>
  <p:extLst>
    <p:ext uri="{DCECCB84-F9BA-43D5-87BE-67443E8EF086}">
      <p15:sldGuideLst xmlns:p15="http://schemas.microsoft.com/office/powerpoint/2012/main">
        <p15:guide id="1" orient="horz" pos="1496">
          <p15:clr>
            <a:srgbClr val="FFC000"/>
          </p15:clr>
        </p15:guide>
        <p15:guide id="2" orient="horz" pos="3958">
          <p15:clr>
            <a:srgbClr val="FFC000"/>
          </p15:clr>
        </p15:guide>
        <p15:guide id="3" orient="horz" pos="865">
          <p15:clr>
            <a:srgbClr val="FFC000"/>
          </p15:clr>
        </p15:guide>
        <p15:guide id="4" pos="7497">
          <p15:clr>
            <a:srgbClr val="FFC000"/>
          </p15:clr>
        </p15:guide>
        <p15:guide id="5" pos="178">
          <p15:clr>
            <a:srgbClr val="FFC000"/>
          </p15:clr>
        </p15:guide>
        <p15:guide id="6" orient="horz" pos="4142">
          <p15:clr>
            <a:srgbClr val="FFC000"/>
          </p15:clr>
        </p15:guide>
        <p15:guide id="7" orient="horz" pos="173">
          <p15:clr>
            <a:srgbClr val="FFC00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dark">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060BA6-1AFE-6EC1-D964-3568D124C7A2}"/>
              </a:ext>
            </a:extLst>
          </p:cNvPr>
          <p:cNvSpPr>
            <a:spLocks noGrp="1"/>
          </p:cNvSpPr>
          <p:nvPr>
            <p:ph type="pic" sz="quarter" idx="10"/>
          </p:nvPr>
        </p:nvSpPr>
        <p:spPr>
          <a:xfrm>
            <a:off x="6096000" y="0"/>
            <a:ext cx="6096000" cy="6858000"/>
          </a:xfrm>
        </p:spPr>
        <p:txBody>
          <a:bodyPr/>
          <a:lstStyle/>
          <a:p>
            <a:r>
              <a:rPr lang="en-US" noProof="0"/>
              <a:t>Click icon to add picture</a:t>
            </a:r>
            <a:endParaRPr lang="en-US" noProof="0" dirty="0"/>
          </a:p>
        </p:txBody>
      </p:sp>
      <p:sp>
        <p:nvSpPr>
          <p:cNvPr id="2" name="Titel 1">
            <a:extLst>
              <a:ext uri="{FF2B5EF4-FFF2-40B4-BE49-F238E27FC236}">
                <a16:creationId xmlns:a16="http://schemas.microsoft.com/office/drawing/2014/main" id="{819012CB-9309-1EF8-7AD0-F24DD6A5F539}"/>
              </a:ext>
            </a:extLst>
          </p:cNvPr>
          <p:cNvSpPr>
            <a:spLocks noGrp="1"/>
          </p:cNvSpPr>
          <p:nvPr>
            <p:ph type="ctrTitle"/>
          </p:nvPr>
        </p:nvSpPr>
        <p:spPr>
          <a:xfrm>
            <a:off x="287338" y="2375159"/>
            <a:ext cx="5310187" cy="720000"/>
          </a:xfrm>
          <a:noFill/>
        </p:spPr>
        <p:txBody>
          <a:bodyPr anchor="t" anchorCtr="0"/>
          <a:lstStyle>
            <a:lvl1pPr algn="l">
              <a:lnSpc>
                <a:spcPct val="98000"/>
              </a:lnSpc>
              <a:defRPr sz="2400">
                <a:solidFill>
                  <a:schemeClr val="bg1"/>
                </a:solidFill>
              </a:defRPr>
            </a:lvl1pPr>
          </a:lstStyle>
          <a:p>
            <a:r>
              <a:rPr lang="en-US"/>
              <a:t>Click to edit Master title style</a:t>
            </a:r>
            <a:endParaRPr lang="en-GB" noProof="0" dirty="0"/>
          </a:p>
        </p:txBody>
      </p:sp>
      <p:sp>
        <p:nvSpPr>
          <p:cNvPr id="3" name="Untertitel 2">
            <a:extLst>
              <a:ext uri="{FF2B5EF4-FFF2-40B4-BE49-F238E27FC236}">
                <a16:creationId xmlns:a16="http://schemas.microsoft.com/office/drawing/2014/main" id="{E6B90887-ED35-5A20-7C9B-459ACC25845A}"/>
              </a:ext>
            </a:extLst>
          </p:cNvPr>
          <p:cNvSpPr>
            <a:spLocks noGrp="1"/>
          </p:cNvSpPr>
          <p:nvPr>
            <p:ph type="subTitle" idx="1"/>
          </p:nvPr>
        </p:nvSpPr>
        <p:spPr>
          <a:xfrm>
            <a:off x="287336" y="3024000"/>
            <a:ext cx="5310000" cy="1800000"/>
          </a:xfrm>
        </p:spPr>
        <p:txBody>
          <a:bodyPr tIns="259200"/>
          <a:lstStyle>
            <a:lvl1pPr marL="0" indent="0" algn="l">
              <a:spcAft>
                <a:spcPts val="1600"/>
              </a:spcAft>
              <a:buNone/>
              <a:defRPr sz="1400">
                <a:solidFill>
                  <a:schemeClr val="bg1"/>
                </a:solidFill>
              </a:defRPr>
            </a:lvl1pPr>
            <a:lvl2pPr marL="0" indent="0" algn="l">
              <a:spcAft>
                <a:spcPts val="0"/>
              </a:spcAft>
              <a:buNone/>
              <a:defRPr sz="1400">
                <a:solidFill>
                  <a:schemeClr val="bg1"/>
                </a:solidFill>
              </a:defRPr>
            </a:lvl2pPr>
            <a:lvl3pPr marL="0" indent="0" algn="l">
              <a:spcAft>
                <a:spcPts val="0"/>
              </a:spcAft>
              <a:buNone/>
              <a:defRPr sz="1400">
                <a:solidFill>
                  <a:schemeClr val="bg1"/>
                </a:solidFill>
              </a:defRPr>
            </a:lvl3pPr>
            <a:lvl4pPr marL="0" indent="0" algn="l">
              <a:spcAft>
                <a:spcPts val="0"/>
              </a:spcAft>
              <a:buNone/>
              <a:defRPr sz="1400" b="0">
                <a:solidFill>
                  <a:schemeClr val="bg1"/>
                </a:solidFill>
              </a:defRPr>
            </a:lvl4pPr>
            <a:lvl5pPr marL="0" indent="0" algn="l">
              <a:spcAft>
                <a:spcPts val="0"/>
              </a:spcAft>
              <a:buNone/>
              <a:defRPr sz="1400">
                <a:solidFill>
                  <a:schemeClr val="bg1"/>
                </a:solidFill>
              </a:defRPr>
            </a:lvl5pPr>
            <a:lvl6pPr marL="0" indent="0" algn="l">
              <a:spcAft>
                <a:spcPts val="0"/>
              </a:spcAft>
              <a:buNone/>
              <a:defRPr sz="1400">
                <a:solidFill>
                  <a:schemeClr val="bg1"/>
                </a:solidFill>
              </a:defRPr>
            </a:lvl6pPr>
            <a:lvl7pPr marL="0" indent="0" algn="l">
              <a:lnSpc>
                <a:spcPct val="100000"/>
              </a:lnSpc>
              <a:buNone/>
              <a:defRPr sz="1400">
                <a:solidFill>
                  <a:schemeClr val="bg1"/>
                </a:solidFill>
              </a:defRPr>
            </a:lvl7pPr>
            <a:lvl8pPr marL="0" indent="0" algn="l">
              <a:lnSpc>
                <a:spcPct val="100000"/>
              </a:lnSpc>
              <a:buNone/>
              <a:defRPr sz="1400">
                <a:solidFill>
                  <a:schemeClr val="bg1"/>
                </a:solidFill>
              </a:defRPr>
            </a:lvl8pPr>
            <a:lvl9pPr marL="0" indent="0" algn="l">
              <a:lnSpc>
                <a:spcPct val="100000"/>
              </a:lnSpc>
              <a:buNone/>
              <a:defRPr sz="1400">
                <a:solidFill>
                  <a:schemeClr val="bg1"/>
                </a:solidFill>
              </a:defRPr>
            </a:lvl9pPr>
          </a:lstStyle>
          <a:p>
            <a:r>
              <a:rPr lang="en-US"/>
              <a:t>Click to edit Master subtitle style</a:t>
            </a:r>
            <a:endParaRPr lang="en-GB" dirty="0">
              <a:solidFill>
                <a:schemeClr val="bg1"/>
              </a:solidFill>
            </a:endParaRPr>
          </a:p>
        </p:txBody>
      </p:sp>
      <p:pic>
        <p:nvPicPr>
          <p:cNvPr id="9" name="Grafik 8">
            <a:extLst>
              <a:ext uri="{FF2B5EF4-FFF2-40B4-BE49-F238E27FC236}">
                <a16:creationId xmlns:a16="http://schemas.microsoft.com/office/drawing/2014/main" id="{1D9C6DEC-DBDD-FC01-FA7E-98919C01D9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0096" y="283377"/>
            <a:ext cx="2305683" cy="303380"/>
          </a:xfrm>
          <a:prstGeom prst="rect">
            <a:avLst/>
          </a:prstGeom>
        </p:spPr>
      </p:pic>
      <p:cxnSp>
        <p:nvCxnSpPr>
          <p:cNvPr id="12" name="Straight Connector 11">
            <a:extLst>
              <a:ext uri="{FF2B5EF4-FFF2-40B4-BE49-F238E27FC236}">
                <a16:creationId xmlns:a16="http://schemas.microsoft.com/office/drawing/2014/main" id="{F531BBB2-EB11-D2F5-8AC3-BBF9BB3D2A20}"/>
              </a:ext>
            </a:extLst>
          </p:cNvPr>
          <p:cNvCxnSpPr/>
          <p:nvPr userDrawn="1"/>
        </p:nvCxnSpPr>
        <p:spPr>
          <a:xfrm>
            <a:off x="287336" y="2093439"/>
            <a:ext cx="531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B840ED-5D5E-5D88-FCF7-2D2ABA7BB0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0315" y="6440208"/>
            <a:ext cx="1515600" cy="166760"/>
          </a:xfrm>
          <a:prstGeom prst="rect">
            <a:avLst/>
          </a:prstGeom>
        </p:spPr>
      </p:pic>
    </p:spTree>
    <p:extLst>
      <p:ext uri="{BB962C8B-B14F-4D97-AF65-F5344CB8AC3E}">
        <p14:creationId xmlns:p14="http://schemas.microsoft.com/office/powerpoint/2010/main" val="2697841347"/>
      </p:ext>
    </p:extLst>
  </p:cSld>
  <p:clrMapOvr>
    <a:masterClrMapping/>
  </p:clrMapOvr>
  <p:extLst>
    <p:ext uri="{DCECCB84-F9BA-43D5-87BE-67443E8EF086}">
      <p15:sldGuideLst xmlns:p15="http://schemas.microsoft.com/office/powerpoint/2012/main">
        <p15:guide id="1" orient="horz" pos="865">
          <p15:clr>
            <a:srgbClr val="FFC000"/>
          </p15:clr>
        </p15:guide>
        <p15:guide id="2" orient="horz" pos="3957">
          <p15:clr>
            <a:srgbClr val="FFC000"/>
          </p15:clr>
        </p15:guide>
        <p15:guide id="3" pos="3839">
          <p15:clr>
            <a:srgbClr val="FFC000"/>
          </p15:clr>
        </p15:guide>
        <p15:guide id="4" orient="horz" pos="1495">
          <p15:clr>
            <a:srgbClr val="FFC000"/>
          </p15:clr>
        </p15:guide>
        <p15:guide id="5" pos="3525">
          <p15:clr>
            <a:srgbClr val="FFC000"/>
          </p15:clr>
        </p15:guide>
        <p15:guide id="6" pos="7500">
          <p15:clr>
            <a:srgbClr val="FFC000"/>
          </p15:clr>
        </p15:guide>
        <p15:guide id="7" pos="181">
          <p15:clr>
            <a:srgbClr val="FFC000"/>
          </p15:clr>
        </p15:guide>
        <p15:guide id="8" orient="horz" pos="4142">
          <p15:clr>
            <a:srgbClr val="FFC000"/>
          </p15:clr>
        </p15:guide>
        <p15:guide id="9" orient="horz" pos="169">
          <p15:clr>
            <a:srgbClr val="FFC00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1.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theme" Target="../theme/theme3.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8" Type="http://schemas.openxmlformats.org/officeDocument/2006/relationships/slideLayout" Target="../slideLayouts/slideLayout105.xml"/><Relationship Id="rId51" Type="http://schemas.openxmlformats.org/officeDocument/2006/relationships/image" Target="../media/image1.emf"/><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1" Type="http://schemas.openxmlformats.org/officeDocument/2006/relationships/slideLayout" Target="../slideLayouts/slideLayout98.xml"/><Relationship Id="rId6"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slideLayout" Target="../slideLayouts/slideLayout185.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50" Type="http://schemas.openxmlformats.org/officeDocument/2006/relationships/theme" Target="../theme/theme4.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slideLayout" Target="../slideLayouts/slideLayout175.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8" Type="http://schemas.openxmlformats.org/officeDocument/2006/relationships/slideLayout" Target="../slideLayouts/slideLayout154.xml"/><Relationship Id="rId51" Type="http://schemas.openxmlformats.org/officeDocument/2006/relationships/image" Target="../media/image1.emf"/><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1" Type="http://schemas.openxmlformats.org/officeDocument/2006/relationships/slideLayout" Target="../slideLayouts/slideLayout147.xml"/><Relationship Id="rId6" Type="http://schemas.openxmlformats.org/officeDocument/2006/relationships/slideLayout" Target="../slideLayouts/slideLayout15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9" Type="http://schemas.openxmlformats.org/officeDocument/2006/relationships/slideLayout" Target="../slideLayouts/slideLayout234.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theme" Target="../theme/theme5.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8" Type="http://schemas.openxmlformats.org/officeDocument/2006/relationships/slideLayout" Target="../slideLayouts/slideLayout203.xml"/><Relationship Id="rId51" Type="http://schemas.openxmlformats.org/officeDocument/2006/relationships/image" Target="../media/image1.emf"/><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1" Type="http://schemas.openxmlformats.org/officeDocument/2006/relationships/slideLayout" Target="../slideLayouts/slideLayout196.xml"/><Relationship Id="rId6"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72485"/>
            <a:ext cx="11615737" cy="612000"/>
          </a:xfrm>
          <a:prstGeom prst="rect">
            <a:avLst/>
          </a:prstGeom>
        </p:spPr>
        <p:txBody>
          <a:bodyPr vert="horz" lIns="0" tIns="0" rIns="0" bIns="0" rtlCol="0" anchor="t" anchorCtr="0">
            <a:noAutofit/>
          </a:bodyPr>
          <a:lstStyle/>
          <a:p>
            <a:r>
              <a:rPr lang="en-US"/>
              <a:t>Click to edit Master title style</a:t>
            </a:r>
            <a:endParaRPr lang="en-GB"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8" y="1378800"/>
            <a:ext cx="11615736" cy="490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endParaRPr lang="en-GB"/>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D7FEE39F-AF01-4C24-8DDC-CF1BA81F434E}" type="slidenum">
              <a:rPr lang="en-GB" smtClean="0"/>
              <a:t>‹Nº›</a:t>
            </a:fld>
            <a:endParaRPr lang="en-GB"/>
          </a:p>
        </p:txBody>
      </p:sp>
      <p:pic>
        <p:nvPicPr>
          <p:cNvPr id="11" name="Grafik 10">
            <a:extLst>
              <a:ext uri="{FF2B5EF4-FFF2-40B4-BE49-F238E27FC236}">
                <a16:creationId xmlns:a16="http://schemas.microsoft.com/office/drawing/2014/main" id="{8251E36B-DCFE-24C9-8E47-8C69412F6AFF}"/>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806069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909" r:id="rId48"/>
  </p:sldLayoutIdLst>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72485"/>
            <a:ext cx="11615737" cy="612000"/>
          </a:xfrm>
          <a:prstGeom prst="rect">
            <a:avLst/>
          </a:prstGeom>
        </p:spPr>
        <p:txBody>
          <a:bodyPr vert="horz" lIns="0" tIns="0" rIns="0" bIns="0" rtlCol="0" anchor="t" anchorCtr="0">
            <a:noAutofit/>
          </a:bodyPr>
          <a:lstStyle/>
          <a:p>
            <a:r>
              <a:rPr lang="en-US"/>
              <a:t>Click to edit Master title style</a:t>
            </a:r>
            <a:endParaRPr lang="en-US"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8" y="1378800"/>
            <a:ext cx="11615736" cy="490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endParaRPr lang="en-GB"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GB" noProof="0" smtClean="0"/>
              <a:pPr/>
              <a:t>‹Nº›</a:t>
            </a:fld>
            <a:endParaRPr lang="en-GB"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120884131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72485"/>
            <a:ext cx="11615737" cy="612000"/>
          </a:xfrm>
          <a:prstGeom prst="rect">
            <a:avLst/>
          </a:prstGeom>
        </p:spPr>
        <p:txBody>
          <a:bodyPr vert="horz" lIns="0" tIns="0" rIns="0" bIns="0" rtlCol="0" anchor="t" anchorCtr="0">
            <a:noAutofit/>
          </a:bodyPr>
          <a:lstStyle/>
          <a:p>
            <a:r>
              <a:rPr lang="en-US"/>
              <a:t>Click to edit Master title style</a:t>
            </a:r>
            <a:endParaRPr lang="en-GB"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8" y="1378800"/>
            <a:ext cx="11615736" cy="490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endParaRPr lang="en-GB"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GB" noProof="0" smtClean="0"/>
              <a:pPr/>
              <a:t>‹Nº›</a:t>
            </a:fld>
            <a:endParaRPr lang="en-GB"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2902215308"/>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72485"/>
            <a:ext cx="11615737" cy="612000"/>
          </a:xfrm>
          <a:prstGeom prst="rect">
            <a:avLst/>
          </a:prstGeom>
        </p:spPr>
        <p:txBody>
          <a:bodyPr vert="horz" lIns="0" tIns="0" rIns="0" bIns="0" rtlCol="0" anchor="t" anchorCtr="0">
            <a:noAutofit/>
          </a:bodyPr>
          <a:lstStyle/>
          <a:p>
            <a:r>
              <a:rPr lang="en-US"/>
              <a:t>Click to edit Master title style</a:t>
            </a:r>
            <a:endParaRPr lang="en-GB"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8" y="1378800"/>
            <a:ext cx="11615736" cy="490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endParaRPr lang="en-GB"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GB" noProof="0" smtClean="0"/>
              <a:pPr/>
              <a:t>‹Nº›</a:t>
            </a:fld>
            <a:endParaRPr lang="en-GB"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186670596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 id="2147483845" r:id="rId36"/>
    <p:sldLayoutId id="2147483846" r:id="rId37"/>
    <p:sldLayoutId id="2147483847" r:id="rId38"/>
    <p:sldLayoutId id="2147483848" r:id="rId39"/>
    <p:sldLayoutId id="2147483849" r:id="rId40"/>
    <p:sldLayoutId id="2147483850" r:id="rId41"/>
    <p:sldLayoutId id="2147483851" r:id="rId42"/>
    <p:sldLayoutId id="2147483852" r:id="rId43"/>
    <p:sldLayoutId id="2147483853" r:id="rId44"/>
    <p:sldLayoutId id="2147483854" r:id="rId45"/>
    <p:sldLayoutId id="2147483855" r:id="rId46"/>
    <p:sldLayoutId id="2147483856" r:id="rId47"/>
    <p:sldLayoutId id="2147483857" r:id="rId48"/>
    <p:sldLayoutId id="2147483858" r:id="rId49"/>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B90DB8D-0673-781E-BCA9-62E8C9D50279}"/>
              </a:ext>
            </a:extLst>
          </p:cNvPr>
          <p:cNvSpPr>
            <a:spLocks noGrp="1"/>
          </p:cNvSpPr>
          <p:nvPr>
            <p:ph type="title"/>
          </p:nvPr>
        </p:nvSpPr>
        <p:spPr>
          <a:xfrm>
            <a:off x="287337" y="272485"/>
            <a:ext cx="11615737" cy="612000"/>
          </a:xfrm>
          <a:prstGeom prst="rect">
            <a:avLst/>
          </a:prstGeom>
        </p:spPr>
        <p:txBody>
          <a:bodyPr vert="horz" lIns="0" tIns="0" rIns="0" bIns="0" rtlCol="0" anchor="t" anchorCtr="0">
            <a:noAutofit/>
          </a:bodyPr>
          <a:lstStyle/>
          <a:p>
            <a:r>
              <a:rPr lang="en-US"/>
              <a:t>Click to edit Master title style</a:t>
            </a:r>
            <a:endParaRPr lang="en-GB" noProof="0" dirty="0"/>
          </a:p>
        </p:txBody>
      </p:sp>
      <p:sp>
        <p:nvSpPr>
          <p:cNvPr id="3" name="Textplatzhalter 2">
            <a:extLst>
              <a:ext uri="{FF2B5EF4-FFF2-40B4-BE49-F238E27FC236}">
                <a16:creationId xmlns:a16="http://schemas.microsoft.com/office/drawing/2014/main" id="{B53CEAF0-FDF5-A52A-70B7-2DA6AE7B3F56}"/>
              </a:ext>
            </a:extLst>
          </p:cNvPr>
          <p:cNvSpPr>
            <a:spLocks noGrp="1"/>
          </p:cNvSpPr>
          <p:nvPr>
            <p:ph type="body" idx="1"/>
          </p:nvPr>
        </p:nvSpPr>
        <p:spPr>
          <a:xfrm>
            <a:off x="287338" y="1378800"/>
            <a:ext cx="11615736" cy="490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noProof="0" dirty="0"/>
          </a:p>
        </p:txBody>
      </p:sp>
      <p:sp>
        <p:nvSpPr>
          <p:cNvPr id="5" name="Fußzeilenplatzhalter 4">
            <a:extLst>
              <a:ext uri="{FF2B5EF4-FFF2-40B4-BE49-F238E27FC236}">
                <a16:creationId xmlns:a16="http://schemas.microsoft.com/office/drawing/2014/main" id="{B13722F9-A0D3-7C43-62B5-80960AF3865C}"/>
              </a:ext>
            </a:extLst>
          </p:cNvPr>
          <p:cNvSpPr>
            <a:spLocks noGrp="1"/>
          </p:cNvSpPr>
          <p:nvPr>
            <p:ph type="ftr" sz="quarter" idx="3"/>
          </p:nvPr>
        </p:nvSpPr>
        <p:spPr>
          <a:xfrm>
            <a:off x="1278000" y="6450420"/>
            <a:ext cx="6656400" cy="144000"/>
          </a:xfrm>
          <a:prstGeom prst="rect">
            <a:avLst/>
          </a:prstGeom>
        </p:spPr>
        <p:txBody>
          <a:bodyPr vert="horz" lIns="0" tIns="0" rIns="0" bIns="0" rtlCol="0" anchor="b" anchorCtr="0">
            <a:noAutofit/>
          </a:bodyPr>
          <a:lstStyle>
            <a:lvl1pPr algn="l">
              <a:defRPr sz="900" b="0">
                <a:solidFill>
                  <a:schemeClr val="tx2"/>
                </a:solidFill>
              </a:defRPr>
            </a:lvl1pPr>
          </a:lstStyle>
          <a:p>
            <a:endParaRPr lang="en-GB" noProof="0" dirty="0"/>
          </a:p>
        </p:txBody>
      </p:sp>
      <p:sp>
        <p:nvSpPr>
          <p:cNvPr id="6" name="Foliennummernplatzhalter 5">
            <a:extLst>
              <a:ext uri="{FF2B5EF4-FFF2-40B4-BE49-F238E27FC236}">
                <a16:creationId xmlns:a16="http://schemas.microsoft.com/office/drawing/2014/main" id="{0F987E40-E517-6727-C893-BA09ADB46723}"/>
              </a:ext>
            </a:extLst>
          </p:cNvPr>
          <p:cNvSpPr>
            <a:spLocks noGrp="1"/>
          </p:cNvSpPr>
          <p:nvPr>
            <p:ph type="sldNum" sz="quarter" idx="4"/>
          </p:nvPr>
        </p:nvSpPr>
        <p:spPr>
          <a:xfrm>
            <a:off x="289199" y="6450420"/>
            <a:ext cx="540000" cy="144000"/>
          </a:xfrm>
          <a:prstGeom prst="rect">
            <a:avLst/>
          </a:prstGeom>
        </p:spPr>
        <p:txBody>
          <a:bodyPr vert="horz" lIns="0" tIns="0" rIns="0" bIns="0" rtlCol="0" anchor="b" anchorCtr="0">
            <a:noAutofit/>
          </a:bodyPr>
          <a:lstStyle>
            <a:lvl1pPr algn="l">
              <a:defRPr sz="900" b="0">
                <a:solidFill>
                  <a:schemeClr val="tx2"/>
                </a:solidFill>
              </a:defRPr>
            </a:lvl1pPr>
          </a:lstStyle>
          <a:p>
            <a:fld id="{9A0F3412-00EB-454F-952B-1EB5D3D69307}" type="slidenum">
              <a:rPr lang="en-GB" noProof="0" smtClean="0"/>
              <a:pPr/>
              <a:t>‹Nº›</a:t>
            </a:fld>
            <a:endParaRPr lang="en-GB" noProof="0" dirty="0"/>
          </a:p>
        </p:txBody>
      </p:sp>
      <p:pic>
        <p:nvPicPr>
          <p:cNvPr id="11" name="Grafik 10">
            <a:extLst>
              <a:ext uri="{FF2B5EF4-FFF2-40B4-BE49-F238E27FC236}">
                <a16:creationId xmlns:a16="http://schemas.microsoft.com/office/drawing/2014/main" id="{8251E36B-DCFE-24C9-8E47-8C69412F6AFF}"/>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0749987" y="6421753"/>
            <a:ext cx="1155600" cy="151690"/>
          </a:xfrm>
          <a:prstGeom prst="rect">
            <a:avLst/>
          </a:prstGeom>
        </p:spPr>
      </p:pic>
    </p:spTree>
    <p:extLst>
      <p:ext uri="{BB962C8B-B14F-4D97-AF65-F5344CB8AC3E}">
        <p14:creationId xmlns:p14="http://schemas.microsoft.com/office/powerpoint/2010/main" val="1872001184"/>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6" r:id="rId37"/>
    <p:sldLayoutId id="2147483897" r:id="rId38"/>
    <p:sldLayoutId id="2147483898" r:id="rId39"/>
    <p:sldLayoutId id="2147483899" r:id="rId40"/>
    <p:sldLayoutId id="2147483900" r:id="rId41"/>
    <p:sldLayoutId id="2147483901" r:id="rId42"/>
    <p:sldLayoutId id="2147483902" r:id="rId43"/>
    <p:sldLayoutId id="2147483903" r:id="rId44"/>
    <p:sldLayoutId id="2147483904" r:id="rId45"/>
    <p:sldLayoutId id="2147483905" r:id="rId46"/>
    <p:sldLayoutId id="2147483906" r:id="rId47"/>
    <p:sldLayoutId id="2147483907" r:id="rId48"/>
    <p:sldLayoutId id="2147483908" r:id="rId49"/>
  </p:sldLayoutIdLst>
  <p:hf hdr="0" dt="0"/>
  <p:txStyles>
    <p:titleStyle>
      <a:lvl1pPr algn="l" defTabSz="914400" rtl="0" eaLnBrk="1" latinLnBrk="0" hangingPunct="1">
        <a:lnSpc>
          <a:spcPct val="100000"/>
        </a:lnSpc>
        <a:spcBef>
          <a:spcPct val="0"/>
        </a:spcBef>
        <a:buNone/>
        <a:defRPr sz="2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bodyStyle>
    <p:otherStyle>
      <a:defPPr>
        <a:defRPr lang="de-DE"/>
      </a:defPPr>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60.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0.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110.png"/></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jpeg"/><Relationship Id="rId1" Type="http://schemas.openxmlformats.org/officeDocument/2006/relationships/slideLayout" Target="../slideLayouts/slideLayout26.xml"/><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6.xml"/><Relationship Id="rId5" Type="http://schemas.openxmlformats.org/officeDocument/2006/relationships/image" Target="../media/image45.png"/><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Layout" Target="../diagrams/layout1.xml"/><Relationship Id="rId7"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4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using a tablet&#10;&#10;AI-generated content may be incorrect.">
            <a:extLst>
              <a:ext uri="{FF2B5EF4-FFF2-40B4-BE49-F238E27FC236}">
                <a16:creationId xmlns:a16="http://schemas.microsoft.com/office/drawing/2014/main" id="{638430BA-35EC-3341-11CA-5E5420FB7F6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0370" r="20370"/>
          <a:stretch>
            <a:fillRect/>
          </a:stretch>
        </p:blipFill>
        <p:spPr/>
      </p:pic>
      <p:sp>
        <p:nvSpPr>
          <p:cNvPr id="3" name="Title 2">
            <a:extLst>
              <a:ext uri="{FF2B5EF4-FFF2-40B4-BE49-F238E27FC236}">
                <a16:creationId xmlns:a16="http://schemas.microsoft.com/office/drawing/2014/main" id="{B09831DA-761C-726E-3E11-480954B55197}"/>
              </a:ext>
            </a:extLst>
          </p:cNvPr>
          <p:cNvSpPr>
            <a:spLocks noGrp="1"/>
          </p:cNvSpPr>
          <p:nvPr>
            <p:ph type="ctrTitle"/>
          </p:nvPr>
        </p:nvSpPr>
        <p:spPr/>
        <p:txBody>
          <a:bodyPr/>
          <a:lstStyle/>
          <a:p>
            <a:r>
              <a:rPr lang="en-GB" dirty="0"/>
              <a:t>Desarrollo de Productos de Vida</a:t>
            </a:r>
          </a:p>
        </p:txBody>
      </p:sp>
      <p:sp>
        <p:nvSpPr>
          <p:cNvPr id="4" name="Subtitle 3">
            <a:extLst>
              <a:ext uri="{FF2B5EF4-FFF2-40B4-BE49-F238E27FC236}">
                <a16:creationId xmlns:a16="http://schemas.microsoft.com/office/drawing/2014/main" id="{BF7B66CD-A4D1-15E4-465A-D3A069D96CA2}"/>
              </a:ext>
            </a:extLst>
          </p:cNvPr>
          <p:cNvSpPr>
            <a:spLocks noGrp="1"/>
          </p:cNvSpPr>
          <p:nvPr>
            <p:ph type="subTitle" idx="1"/>
          </p:nvPr>
        </p:nvSpPr>
        <p:spPr/>
        <p:txBody>
          <a:bodyPr/>
          <a:lstStyle/>
          <a:p>
            <a:r>
              <a:rPr lang="en-GB" dirty="0"/>
              <a:t>Act. Bryan Urbano</a:t>
            </a:r>
          </a:p>
          <a:p>
            <a:endParaRPr lang="en-GB" sz="1100" b="0" dirty="0"/>
          </a:p>
          <a:p>
            <a:r>
              <a:rPr lang="en-GB" sz="1100" b="0" dirty="0" err="1"/>
              <a:t>Septiembre</a:t>
            </a:r>
            <a:r>
              <a:rPr lang="en-GB" sz="1100" b="0" dirty="0"/>
              <a:t>, 2025</a:t>
            </a:r>
          </a:p>
          <a:p>
            <a:endParaRPr lang="en-GB" dirty="0"/>
          </a:p>
        </p:txBody>
      </p:sp>
    </p:spTree>
    <p:extLst>
      <p:ext uri="{BB962C8B-B14F-4D97-AF65-F5344CB8AC3E}">
        <p14:creationId xmlns:p14="http://schemas.microsoft.com/office/powerpoint/2010/main" val="1997598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6E29E-A355-969D-D3CB-D7C79B174277}"/>
              </a:ext>
            </a:extLst>
          </p:cNvPr>
          <p:cNvSpPr>
            <a:spLocks noGrp="1"/>
          </p:cNvSpPr>
          <p:nvPr>
            <p:ph type="title"/>
          </p:nvPr>
        </p:nvSpPr>
        <p:spPr>
          <a:xfrm>
            <a:off x="287337" y="451222"/>
            <a:ext cx="11615737" cy="612000"/>
          </a:xfrm>
        </p:spPr>
        <p:txBody>
          <a:bodyPr/>
          <a:lstStyle/>
          <a:p>
            <a:r>
              <a:rPr lang="en-GB" sz="2800" b="1" dirty="0" err="1"/>
              <a:t>Generalidades</a:t>
            </a:r>
            <a:endParaRPr lang="en-GB" sz="2800" b="1" dirty="0"/>
          </a:p>
        </p:txBody>
      </p:sp>
      <p:grpSp>
        <p:nvGrpSpPr>
          <p:cNvPr id="4" name="Group 3">
            <a:extLst>
              <a:ext uri="{FF2B5EF4-FFF2-40B4-BE49-F238E27FC236}">
                <a16:creationId xmlns:a16="http://schemas.microsoft.com/office/drawing/2014/main" id="{D13A4831-AA34-828A-4534-1CC0254D27FA}"/>
              </a:ext>
            </a:extLst>
          </p:cNvPr>
          <p:cNvGrpSpPr/>
          <p:nvPr/>
        </p:nvGrpSpPr>
        <p:grpSpPr>
          <a:xfrm>
            <a:off x="1594603" y="1241634"/>
            <a:ext cx="7091224" cy="5444820"/>
            <a:chOff x="3072787" y="1557487"/>
            <a:chExt cx="6117401" cy="4448442"/>
          </a:xfrm>
        </p:grpSpPr>
        <p:grpSp>
          <p:nvGrpSpPr>
            <p:cNvPr id="5" name="Group 4">
              <a:extLst>
                <a:ext uri="{FF2B5EF4-FFF2-40B4-BE49-F238E27FC236}">
                  <a16:creationId xmlns:a16="http://schemas.microsoft.com/office/drawing/2014/main" id="{6CF74E11-4B7D-418B-04C5-29302AB29F8A}"/>
                </a:ext>
              </a:extLst>
            </p:cNvPr>
            <p:cNvGrpSpPr/>
            <p:nvPr/>
          </p:nvGrpSpPr>
          <p:grpSpPr>
            <a:xfrm>
              <a:off x="4972599" y="3968859"/>
              <a:ext cx="2299508" cy="2037070"/>
              <a:chOff x="4972599" y="3968859"/>
              <a:chExt cx="2299508" cy="2037070"/>
            </a:xfrm>
          </p:grpSpPr>
          <p:pic>
            <p:nvPicPr>
              <p:cNvPr id="15" name="Grafik 48">
                <a:extLst>
                  <a:ext uri="{FF2B5EF4-FFF2-40B4-BE49-F238E27FC236}">
                    <a16:creationId xmlns:a16="http://schemas.microsoft.com/office/drawing/2014/main" id="{5A27B694-5CE8-8B29-A9C6-858A294000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2599" y="3968859"/>
                <a:ext cx="2299508" cy="2037070"/>
              </a:xfrm>
              <a:prstGeom prst="rect">
                <a:avLst/>
              </a:prstGeom>
            </p:spPr>
          </p:pic>
          <p:sp>
            <p:nvSpPr>
              <p:cNvPr id="16" name="Hexagon 17">
                <a:extLst>
                  <a:ext uri="{FF2B5EF4-FFF2-40B4-BE49-F238E27FC236}">
                    <a16:creationId xmlns:a16="http://schemas.microsoft.com/office/drawing/2014/main" id="{551223D9-1D2C-CDE3-E099-F08B79EDE466}"/>
                  </a:ext>
                </a:extLst>
              </p:cNvPr>
              <p:cNvSpPr/>
              <p:nvPr/>
            </p:nvSpPr>
            <p:spPr>
              <a:xfrm>
                <a:off x="5369199" y="4692414"/>
                <a:ext cx="1463249" cy="589960"/>
              </a:xfrm>
              <a:prstGeom prst="hexagon">
                <a:avLst>
                  <a:gd name="adj" fmla="val 0"/>
                  <a:gd name="vf" fmla="val 115470"/>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a:endParaRPr lang="en-GB" sz="1800" dirty="0">
                  <a:solidFill>
                    <a:schemeClr val="tx1"/>
                  </a:solidFill>
                  <a:cs typeface="Arial" panose="020B0604020202020204" pitchFamily="34" charset="0"/>
                </a:endParaRPr>
              </a:p>
              <a:p>
                <a:pPr algn="ctr"/>
                <a:r>
                  <a:rPr lang="en-GB" sz="1800" dirty="0">
                    <a:solidFill>
                      <a:schemeClr val="tx1"/>
                    </a:solidFill>
                    <a:cs typeface="Arial" panose="020B0604020202020204" pitchFamily="34" charset="0"/>
                  </a:rPr>
                  <a:t>Tarifa </a:t>
                </a:r>
              </a:p>
              <a:p>
                <a:pPr algn="ctr"/>
                <a:r>
                  <a:rPr lang="en-GB" sz="2400" dirty="0">
                    <a:solidFill>
                      <a:schemeClr val="tx1"/>
                    </a:solidFill>
                    <a:cs typeface="Arial" panose="020B0604020202020204" pitchFamily="34" charset="0"/>
                  </a:rPr>
                  <a:t>≠</a:t>
                </a:r>
              </a:p>
              <a:p>
                <a:pPr algn="ctr"/>
                <a:r>
                  <a:rPr lang="en-GB" sz="1800" dirty="0">
                    <a:solidFill>
                      <a:schemeClr val="tx1"/>
                    </a:solidFill>
                    <a:cs typeface="Arial" panose="020B0604020202020204" pitchFamily="34" charset="0"/>
                  </a:rPr>
                  <a:t>  </a:t>
                </a:r>
                <a:r>
                  <a:rPr lang="en-GB" sz="1800" dirty="0" err="1">
                    <a:solidFill>
                      <a:schemeClr val="tx1"/>
                    </a:solidFill>
                    <a:cs typeface="Arial" panose="020B0604020202020204" pitchFamily="34" charset="0"/>
                  </a:rPr>
                  <a:t>Riesgo</a:t>
                </a:r>
                <a:endParaRPr lang="en-GB" sz="1800" dirty="0">
                  <a:solidFill>
                    <a:schemeClr val="tx1"/>
                  </a:solidFill>
                  <a:cs typeface="Arial" panose="020B0604020202020204" pitchFamily="34" charset="0"/>
                </a:endParaRPr>
              </a:p>
              <a:p>
                <a:pPr algn="ctr"/>
                <a:endParaRPr lang="en-GB" sz="1800" dirty="0">
                  <a:solidFill>
                    <a:schemeClr val="tx1"/>
                  </a:solidFill>
                  <a:cs typeface="Arial" panose="020B0604020202020204" pitchFamily="34" charset="0"/>
                </a:endParaRPr>
              </a:p>
            </p:txBody>
          </p:sp>
        </p:grpSp>
        <p:grpSp>
          <p:nvGrpSpPr>
            <p:cNvPr id="6" name="Gruppieren 41">
              <a:extLst>
                <a:ext uri="{FF2B5EF4-FFF2-40B4-BE49-F238E27FC236}">
                  <a16:creationId xmlns:a16="http://schemas.microsoft.com/office/drawing/2014/main" id="{BC702F44-49D0-BE92-7210-DA4CF7DB85E9}"/>
                </a:ext>
              </a:extLst>
            </p:cNvPr>
            <p:cNvGrpSpPr/>
            <p:nvPr/>
          </p:nvGrpSpPr>
          <p:grpSpPr>
            <a:xfrm>
              <a:off x="6890680" y="2846247"/>
              <a:ext cx="2299508" cy="2037070"/>
              <a:chOff x="7951671" y="2550386"/>
              <a:chExt cx="2300107" cy="2037600"/>
            </a:xfrm>
          </p:grpSpPr>
          <p:pic>
            <p:nvPicPr>
              <p:cNvPr id="13" name="Grafik 40">
                <a:extLst>
                  <a:ext uri="{FF2B5EF4-FFF2-40B4-BE49-F238E27FC236}">
                    <a16:creationId xmlns:a16="http://schemas.microsoft.com/office/drawing/2014/main" id="{E6E45004-0F3C-33E1-229E-C8D536CB7E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1671" y="2550386"/>
                <a:ext cx="2300107" cy="2037600"/>
              </a:xfrm>
              <a:prstGeom prst="rect">
                <a:avLst/>
              </a:prstGeom>
            </p:spPr>
          </p:pic>
          <p:sp>
            <p:nvSpPr>
              <p:cNvPr id="14" name="Hexagon 17">
                <a:extLst>
                  <a:ext uri="{FF2B5EF4-FFF2-40B4-BE49-F238E27FC236}">
                    <a16:creationId xmlns:a16="http://schemas.microsoft.com/office/drawing/2014/main" id="{E51AA972-CEA5-EF8B-6E39-B8E90C122F54}"/>
                  </a:ext>
                </a:extLst>
              </p:cNvPr>
              <p:cNvSpPr/>
              <p:nvPr/>
            </p:nvSpPr>
            <p:spPr>
              <a:xfrm>
                <a:off x="7995210" y="3361779"/>
                <a:ext cx="1660329" cy="402887"/>
              </a:xfrm>
              <a:prstGeom prst="hexagon">
                <a:avLst>
                  <a:gd name="adj" fmla="val 0"/>
                  <a:gd name="vf" fmla="val 11547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a:r>
                  <a:rPr lang="es-MX" sz="1800" dirty="0">
                    <a:solidFill>
                      <a:schemeClr val="bg1"/>
                    </a:solidFill>
                    <a:cs typeface="Arial" panose="020B0604020202020204" pitchFamily="34" charset="0"/>
                  </a:rPr>
                  <a:t>Métodos de tarificación</a:t>
                </a:r>
                <a:endParaRPr lang="en-GB" sz="1800" dirty="0">
                  <a:solidFill>
                    <a:schemeClr val="bg1"/>
                  </a:solidFill>
                  <a:cs typeface="Arial" panose="020B0604020202020204" pitchFamily="34" charset="0"/>
                </a:endParaRPr>
              </a:p>
            </p:txBody>
          </p:sp>
        </p:grpSp>
        <p:grpSp>
          <p:nvGrpSpPr>
            <p:cNvPr id="7" name="Gruppieren 38">
              <a:extLst>
                <a:ext uri="{FF2B5EF4-FFF2-40B4-BE49-F238E27FC236}">
                  <a16:creationId xmlns:a16="http://schemas.microsoft.com/office/drawing/2014/main" id="{D4257543-E46D-713F-64C2-5519171D4866}"/>
                </a:ext>
              </a:extLst>
            </p:cNvPr>
            <p:cNvGrpSpPr/>
            <p:nvPr/>
          </p:nvGrpSpPr>
          <p:grpSpPr>
            <a:xfrm>
              <a:off x="3072787" y="2846247"/>
              <a:ext cx="2299508" cy="2037070"/>
              <a:chOff x="265587" y="2421794"/>
              <a:chExt cx="2300107" cy="2037600"/>
            </a:xfrm>
          </p:grpSpPr>
          <p:pic>
            <p:nvPicPr>
              <p:cNvPr id="11" name="Grafik 37">
                <a:extLst>
                  <a:ext uri="{FF2B5EF4-FFF2-40B4-BE49-F238E27FC236}">
                    <a16:creationId xmlns:a16="http://schemas.microsoft.com/office/drawing/2014/main" id="{BD5F5A1E-C29C-8087-66AA-C584210F35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587" y="2421794"/>
                <a:ext cx="2300107" cy="2037600"/>
              </a:xfrm>
              <a:prstGeom prst="rect">
                <a:avLst/>
              </a:prstGeom>
            </p:spPr>
          </p:pic>
          <p:sp>
            <p:nvSpPr>
              <p:cNvPr id="12" name="Textfeld 4">
                <a:extLst>
                  <a:ext uri="{FF2B5EF4-FFF2-40B4-BE49-F238E27FC236}">
                    <a16:creationId xmlns:a16="http://schemas.microsoft.com/office/drawing/2014/main" id="{AE578391-8A56-0B31-E6A9-45756440B36B}"/>
                  </a:ext>
                </a:extLst>
              </p:cNvPr>
              <p:cNvSpPr txBox="1"/>
              <p:nvPr/>
            </p:nvSpPr>
            <p:spPr bwMode="gray">
              <a:xfrm>
                <a:off x="585770" y="3272401"/>
                <a:ext cx="1659740" cy="336386"/>
              </a:xfrm>
              <a:prstGeom prst="rect">
                <a:avLst/>
              </a:prstGeom>
              <a:noFill/>
            </p:spPr>
            <p:txBody>
              <a:bodyPr wrap="square" lIns="0" tIns="0" rIns="0" bIns="0" rtlCol="0" anchor="ctr" anchorCtr="0">
                <a:noAutofit/>
              </a:bodyPr>
              <a:lstStyle/>
              <a:p>
                <a:pPr algn="ctr">
                  <a:spcBef>
                    <a:spcPts val="300"/>
                  </a:spcBef>
                  <a:buClr>
                    <a:schemeClr val="accent2"/>
                  </a:buClr>
                </a:pPr>
                <a:endParaRPr lang="es-MX" sz="1800" dirty="0">
                  <a:solidFill>
                    <a:schemeClr val="bg1"/>
                  </a:solidFill>
                </a:endParaRPr>
              </a:p>
              <a:p>
                <a:pPr algn="ctr">
                  <a:spcBef>
                    <a:spcPts val="300"/>
                  </a:spcBef>
                  <a:buClr>
                    <a:schemeClr val="accent2"/>
                  </a:buClr>
                </a:pPr>
                <a:r>
                  <a:rPr lang="es-MX" sz="1800" dirty="0">
                    <a:solidFill>
                      <a:schemeClr val="bg1"/>
                    </a:solidFill>
                  </a:rPr>
                  <a:t>Balance</a:t>
                </a:r>
                <a:endParaRPr lang="es-MX" dirty="0">
                  <a:solidFill>
                    <a:schemeClr val="bg1"/>
                  </a:solidFill>
                </a:endParaRPr>
              </a:p>
              <a:p>
                <a:pPr algn="ctr">
                  <a:spcBef>
                    <a:spcPts val="300"/>
                  </a:spcBef>
                  <a:buClr>
                    <a:schemeClr val="accent2"/>
                  </a:buClr>
                </a:pPr>
                <a:endParaRPr lang="en-GB" sz="1800" dirty="0">
                  <a:solidFill>
                    <a:schemeClr val="bg1"/>
                  </a:solidFill>
                </a:endParaRPr>
              </a:p>
            </p:txBody>
          </p:sp>
        </p:grpSp>
        <p:grpSp>
          <p:nvGrpSpPr>
            <p:cNvPr id="8" name="Gruppieren 46">
              <a:extLst>
                <a:ext uri="{FF2B5EF4-FFF2-40B4-BE49-F238E27FC236}">
                  <a16:creationId xmlns:a16="http://schemas.microsoft.com/office/drawing/2014/main" id="{CEE23FC0-2963-C559-D46B-A0A95A43FB26}"/>
                </a:ext>
              </a:extLst>
            </p:cNvPr>
            <p:cNvGrpSpPr/>
            <p:nvPr/>
          </p:nvGrpSpPr>
          <p:grpSpPr>
            <a:xfrm>
              <a:off x="4770470" y="1557487"/>
              <a:ext cx="2722033" cy="2411372"/>
              <a:chOff x="5521587" y="1589283"/>
              <a:chExt cx="2722742" cy="2412000"/>
            </a:xfrm>
          </p:grpSpPr>
          <p:pic>
            <p:nvPicPr>
              <p:cNvPr id="9" name="Grafik 44">
                <a:extLst>
                  <a:ext uri="{FF2B5EF4-FFF2-40B4-BE49-F238E27FC236}">
                    <a16:creationId xmlns:a16="http://schemas.microsoft.com/office/drawing/2014/main" id="{97170368-9D0C-7495-1B84-523179F2991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21587" y="1589283"/>
                <a:ext cx="2722742" cy="2412000"/>
              </a:xfrm>
              <a:prstGeom prst="rect">
                <a:avLst/>
              </a:prstGeom>
            </p:spPr>
          </p:pic>
          <p:sp>
            <p:nvSpPr>
              <p:cNvPr id="10" name="Hexagon 17">
                <a:extLst>
                  <a:ext uri="{FF2B5EF4-FFF2-40B4-BE49-F238E27FC236}">
                    <a16:creationId xmlns:a16="http://schemas.microsoft.com/office/drawing/2014/main" id="{B3F7F320-A503-3FB9-CB97-8D4E55D99490}"/>
                  </a:ext>
                </a:extLst>
              </p:cNvPr>
              <p:cNvSpPr/>
              <p:nvPr/>
            </p:nvSpPr>
            <p:spPr>
              <a:xfrm>
                <a:off x="5867116" y="1857916"/>
                <a:ext cx="2031684" cy="1874734"/>
              </a:xfrm>
              <a:prstGeom prst="hexagon">
                <a:avLst>
                  <a:gd name="adj" fmla="val 0"/>
                  <a:gd name="vf" fmla="val 11547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8" tIns="71998" rIns="71998" bIns="71998" numCol="1" spcCol="0" rtlCol="0" fromWordArt="0" anchor="ctr" anchorCtr="0" forceAA="0" compatLnSpc="1">
                <a:prstTxWarp prst="textNoShape">
                  <a:avLst/>
                </a:prstTxWarp>
                <a:noAutofit/>
              </a:bodyPr>
              <a:lstStyle/>
              <a:p>
                <a:pPr algn="ctr"/>
                <a:r>
                  <a:rPr lang="es-MX" sz="1800" dirty="0">
                    <a:solidFill>
                      <a:schemeClr val="tx1"/>
                    </a:solidFill>
                    <a:cs typeface="Arial" panose="020B0604020202020204" pitchFamily="34" charset="0"/>
                  </a:rPr>
                  <a:t>No deberíamos instalarle pérdidas a la compañía</a:t>
                </a:r>
                <a:endParaRPr lang="en-GB" sz="1800" dirty="0">
                  <a:solidFill>
                    <a:schemeClr val="tx1"/>
                  </a:solidFill>
                  <a:cs typeface="Arial" panose="020B0604020202020204" pitchFamily="34" charset="0"/>
                </a:endParaRPr>
              </a:p>
            </p:txBody>
          </p:sp>
        </p:grpSp>
      </p:gr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A7BD9F27-850F-1EA8-E08F-70E63A14D770}"/>
                  </a:ext>
                </a:extLst>
              </p:cNvPr>
              <p:cNvSpPr txBox="1"/>
              <p:nvPr/>
            </p:nvSpPr>
            <p:spPr>
              <a:xfrm>
                <a:off x="7659714" y="3814337"/>
                <a:ext cx="914400" cy="914400"/>
              </a:xfrm>
              <a:prstGeom prst="rect">
                <a:avLst/>
              </a:prstGeom>
              <a:noFill/>
            </p:spPr>
            <p:txBody>
              <a:bodyPr wrap="none" lIns="0" tIns="0" rIns="0" bIns="0" rtlCol="0">
                <a:noAutofit/>
              </a:bodyPr>
              <a:lstStyle/>
              <a:p>
                <a:pPr algn="l"/>
                <a14:m>
                  <m:oMathPara xmlns:m="http://schemas.openxmlformats.org/officeDocument/2006/math">
                    <m:oMathParaPr>
                      <m:jc m:val="centerGroup"/>
                    </m:oMathParaPr>
                    <m:oMath xmlns:m="http://schemas.openxmlformats.org/officeDocument/2006/math">
                      <m:r>
                        <a:rPr lang="en-GB" sz="3200" i="1" smtClean="0">
                          <a:solidFill>
                            <a:schemeClr val="bg1"/>
                          </a:solidFill>
                          <a:latin typeface="Cambria Math" panose="02040503050406030204" pitchFamily="18" charset="0"/>
                          <a:ea typeface="Cambria Math" panose="02040503050406030204" pitchFamily="18" charset="0"/>
                        </a:rPr>
                        <m:t>∈</m:t>
                      </m:r>
                      <m:r>
                        <a:rPr lang="en-GB" sz="3200" i="1" smtClean="0">
                          <a:solidFill>
                            <a:schemeClr val="bg1"/>
                          </a:solidFill>
                          <a:latin typeface="Cambria Math" panose="02040503050406030204" pitchFamily="18" charset="0"/>
                          <a:ea typeface="Cambria Math" panose="02040503050406030204" pitchFamily="18" charset="0"/>
                        </a:rPr>
                        <m:t>ℕ</m:t>
                      </m:r>
                    </m:oMath>
                  </m:oMathPara>
                </a14:m>
                <a:endParaRPr lang="en-GB" sz="3200" dirty="0">
                  <a:solidFill>
                    <a:schemeClr val="bg1"/>
                  </a:solidFill>
                </a:endParaRPr>
              </a:p>
            </p:txBody>
          </p:sp>
        </mc:Choice>
        <mc:Fallback xmlns="">
          <p:sp>
            <p:nvSpPr>
              <p:cNvPr id="17" name="TextBox 16">
                <a:extLst>
                  <a:ext uri="{FF2B5EF4-FFF2-40B4-BE49-F238E27FC236}">
                    <a16:creationId xmlns:a16="http://schemas.microsoft.com/office/drawing/2014/main" id="{A7BD9F27-850F-1EA8-E08F-70E63A14D770}"/>
                  </a:ext>
                </a:extLst>
              </p:cNvPr>
              <p:cNvSpPr txBox="1">
                <a:spLocks noRot="1" noChangeAspect="1" noMove="1" noResize="1" noEditPoints="1" noAdjustHandles="1" noChangeArrowheads="1" noChangeShapeType="1" noTextEdit="1"/>
              </p:cNvSpPr>
              <p:nvPr/>
            </p:nvSpPr>
            <p:spPr>
              <a:xfrm>
                <a:off x="7659714" y="3814337"/>
                <a:ext cx="914400" cy="914400"/>
              </a:xfrm>
              <a:prstGeom prst="rect">
                <a:avLst/>
              </a:prstGeom>
              <a:blipFill>
                <a:blip r:embed="rId7"/>
                <a:stretch>
                  <a:fillRect/>
                </a:stretch>
              </a:blipFill>
            </p:spPr>
            <p:txBody>
              <a:bodyPr/>
              <a:lstStyle/>
              <a:p>
                <a:r>
                  <a:rPr lang="en-GB">
                    <a:noFill/>
                  </a:rPr>
                  <a:t> </a:t>
                </a:r>
              </a:p>
            </p:txBody>
          </p:sp>
        </mc:Fallback>
      </mc:AlternateContent>
      <p:sp>
        <p:nvSpPr>
          <p:cNvPr id="18" name="TextBox 17">
            <a:extLst>
              <a:ext uri="{FF2B5EF4-FFF2-40B4-BE49-F238E27FC236}">
                <a16:creationId xmlns:a16="http://schemas.microsoft.com/office/drawing/2014/main" id="{CEAA9C0A-FA5B-75C0-534D-1B9EAC4D0227}"/>
              </a:ext>
            </a:extLst>
          </p:cNvPr>
          <p:cNvSpPr txBox="1"/>
          <p:nvPr/>
        </p:nvSpPr>
        <p:spPr>
          <a:xfrm>
            <a:off x="9607854" y="2868719"/>
            <a:ext cx="1527463" cy="413434"/>
          </a:xfrm>
          <a:prstGeom prst="rect">
            <a:avLst/>
          </a:prstGeom>
          <a:noFill/>
        </p:spPr>
        <p:txBody>
          <a:bodyPr wrap="square" lIns="0" tIns="0" rIns="0" bIns="0" rtlCol="0">
            <a:noAutofit/>
          </a:bodyPr>
          <a:lstStyle/>
          <a:p>
            <a:pPr algn="l"/>
            <a:r>
              <a:rPr lang="en-GB" dirty="0" err="1"/>
              <a:t>Disponibilidad</a:t>
            </a:r>
            <a:r>
              <a:rPr lang="en-GB" dirty="0"/>
              <a:t> de la </a:t>
            </a:r>
            <a:r>
              <a:rPr lang="en-GB" dirty="0" err="1"/>
              <a:t>información</a:t>
            </a:r>
            <a:endParaRPr lang="en-GB" dirty="0"/>
          </a:p>
        </p:txBody>
      </p:sp>
      <p:sp>
        <p:nvSpPr>
          <p:cNvPr id="19" name="TextBox 18">
            <a:extLst>
              <a:ext uri="{FF2B5EF4-FFF2-40B4-BE49-F238E27FC236}">
                <a16:creationId xmlns:a16="http://schemas.microsoft.com/office/drawing/2014/main" id="{4BAFA340-5403-3850-0E05-2C269DE37C3D}"/>
              </a:ext>
            </a:extLst>
          </p:cNvPr>
          <p:cNvSpPr txBox="1"/>
          <p:nvPr/>
        </p:nvSpPr>
        <p:spPr>
          <a:xfrm>
            <a:off x="9627652" y="3811928"/>
            <a:ext cx="1527463" cy="413434"/>
          </a:xfrm>
          <a:prstGeom prst="rect">
            <a:avLst/>
          </a:prstGeom>
          <a:noFill/>
        </p:spPr>
        <p:txBody>
          <a:bodyPr wrap="square" lIns="0" tIns="0" rIns="0" bIns="0" rtlCol="0">
            <a:noAutofit/>
          </a:bodyPr>
          <a:lstStyle/>
          <a:p>
            <a:pPr algn="l"/>
            <a:r>
              <a:rPr lang="en-GB" dirty="0" err="1"/>
              <a:t>Tendencia</a:t>
            </a:r>
            <a:r>
              <a:rPr lang="en-GB" dirty="0"/>
              <a:t> y </a:t>
            </a:r>
            <a:r>
              <a:rPr lang="en-GB" dirty="0" err="1"/>
              <a:t>características</a:t>
            </a:r>
            <a:endParaRPr lang="en-GB" dirty="0"/>
          </a:p>
        </p:txBody>
      </p:sp>
      <p:sp>
        <p:nvSpPr>
          <p:cNvPr id="20" name="TextBox 19">
            <a:extLst>
              <a:ext uri="{FF2B5EF4-FFF2-40B4-BE49-F238E27FC236}">
                <a16:creationId xmlns:a16="http://schemas.microsoft.com/office/drawing/2014/main" id="{FDAADD6B-78A1-0240-4BF1-32AE60E0AA55}"/>
              </a:ext>
            </a:extLst>
          </p:cNvPr>
          <p:cNvSpPr txBox="1"/>
          <p:nvPr/>
        </p:nvSpPr>
        <p:spPr>
          <a:xfrm>
            <a:off x="9682191" y="5026349"/>
            <a:ext cx="1527463" cy="413434"/>
          </a:xfrm>
          <a:prstGeom prst="rect">
            <a:avLst/>
          </a:prstGeom>
          <a:noFill/>
        </p:spPr>
        <p:txBody>
          <a:bodyPr wrap="square" lIns="0" tIns="0" rIns="0" bIns="0" rtlCol="0">
            <a:noAutofit/>
          </a:bodyPr>
          <a:lstStyle/>
          <a:p>
            <a:pPr algn="l"/>
            <a:r>
              <a:rPr lang="en-GB" dirty="0" err="1"/>
              <a:t>Creatividad</a:t>
            </a:r>
            <a:endParaRPr lang="en-GB" dirty="0"/>
          </a:p>
        </p:txBody>
      </p:sp>
      <p:cxnSp>
        <p:nvCxnSpPr>
          <p:cNvPr id="22" name="Straight Connector 21">
            <a:extLst>
              <a:ext uri="{FF2B5EF4-FFF2-40B4-BE49-F238E27FC236}">
                <a16:creationId xmlns:a16="http://schemas.microsoft.com/office/drawing/2014/main" id="{C667D42B-18DA-D522-3A13-E99AD378B097}"/>
              </a:ext>
            </a:extLst>
          </p:cNvPr>
          <p:cNvCxnSpPr>
            <a:endCxn id="18" idx="1"/>
          </p:cNvCxnSpPr>
          <p:nvPr/>
        </p:nvCxnSpPr>
        <p:spPr>
          <a:xfrm flipV="1">
            <a:off x="8376058" y="3075436"/>
            <a:ext cx="1231796" cy="430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9AF1E38-1FD3-FAA6-0B28-FADE732A76FE}"/>
              </a:ext>
            </a:extLst>
          </p:cNvPr>
          <p:cNvCxnSpPr>
            <a:cxnSpLocks/>
            <a:endCxn id="19" idx="1"/>
          </p:cNvCxnSpPr>
          <p:nvPr/>
        </p:nvCxnSpPr>
        <p:spPr>
          <a:xfrm flipV="1">
            <a:off x="8574114" y="4018645"/>
            <a:ext cx="1053538" cy="47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44DF29F-976A-0B76-EF32-0537554E5EA1}"/>
              </a:ext>
            </a:extLst>
          </p:cNvPr>
          <p:cNvCxnSpPr>
            <a:cxnSpLocks/>
            <a:endCxn id="20" idx="1"/>
          </p:cNvCxnSpPr>
          <p:nvPr/>
        </p:nvCxnSpPr>
        <p:spPr>
          <a:xfrm>
            <a:off x="8376058" y="4581807"/>
            <a:ext cx="1306133" cy="65125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4001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500" fill="hold"/>
                                        <p:tgtEl>
                                          <p:spTgt spid="23"/>
                                        </p:tgtEl>
                                        <p:attrNameLst>
                                          <p:attrName>ppt_x</p:attrName>
                                        </p:attrNameLst>
                                      </p:cBhvr>
                                      <p:tavLst>
                                        <p:tav tm="0">
                                          <p:val>
                                            <p:strVal val="#ppt_x"/>
                                          </p:val>
                                        </p:tav>
                                        <p:tav tm="100000">
                                          <p:val>
                                            <p:strVal val="#ppt_x"/>
                                          </p:val>
                                        </p:tav>
                                      </p:tavLst>
                                    </p:anim>
                                    <p:anim calcmode="lin" valueType="num">
                                      <p:cBhvr additive="base">
                                        <p:cTn id="26" dur="500" fill="hold"/>
                                        <p:tgtEl>
                                          <p:spTgt spid="23"/>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ppt_x"/>
                                          </p:val>
                                        </p:tav>
                                        <p:tav tm="100000">
                                          <p:val>
                                            <p:strVal val="#ppt_x"/>
                                          </p:val>
                                        </p:tav>
                                      </p:tavLst>
                                    </p:anim>
                                    <p:anim calcmode="lin" valueType="num">
                                      <p:cBhvr additive="base">
                                        <p:cTn id="30" dur="500" fill="hold"/>
                                        <p:tgtEl>
                                          <p:spTgt spid="25"/>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 calcmode="lin" valueType="num">
                                      <p:cBhvr additive="base">
                                        <p:cTn id="33" dur="500" fill="hold"/>
                                        <p:tgtEl>
                                          <p:spTgt spid="20"/>
                                        </p:tgtEl>
                                        <p:attrNameLst>
                                          <p:attrName>ppt_x</p:attrName>
                                        </p:attrNameLst>
                                      </p:cBhvr>
                                      <p:tavLst>
                                        <p:tav tm="0">
                                          <p:val>
                                            <p:strVal val="#ppt_x"/>
                                          </p:val>
                                        </p:tav>
                                        <p:tav tm="100000">
                                          <p:val>
                                            <p:strVal val="#ppt_x"/>
                                          </p:val>
                                        </p:tav>
                                      </p:tavLst>
                                    </p:anim>
                                    <p:anim calcmode="lin" valueType="num">
                                      <p:cBhvr additive="base">
                                        <p:cTn id="3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255B1-7E03-0BC8-2CD6-E758B120151D}"/>
              </a:ext>
            </a:extLst>
          </p:cNvPr>
          <p:cNvSpPr>
            <a:spLocks noGrp="1"/>
          </p:cNvSpPr>
          <p:nvPr>
            <p:ph type="title"/>
          </p:nvPr>
        </p:nvSpPr>
        <p:spPr>
          <a:xfrm>
            <a:off x="287337" y="442344"/>
            <a:ext cx="11615737" cy="612000"/>
          </a:xfrm>
        </p:spPr>
        <p:txBody>
          <a:bodyPr/>
          <a:lstStyle/>
          <a:p>
            <a:r>
              <a:rPr lang="en-GB" sz="2800" b="1" dirty="0" err="1"/>
              <a:t>Constitución</a:t>
            </a:r>
            <a:r>
              <a:rPr lang="en-GB" sz="2800" b="1" dirty="0"/>
              <a:t> del </a:t>
            </a:r>
            <a:r>
              <a:rPr lang="en-GB" sz="2800" b="1" dirty="0" err="1"/>
              <a:t>grupo</a:t>
            </a:r>
            <a:endParaRPr lang="en-GB" sz="2800" b="1" dirty="0"/>
          </a:p>
        </p:txBody>
      </p:sp>
      <p:sp>
        <p:nvSpPr>
          <p:cNvPr id="3" name="Content Placeholder 2">
            <a:extLst>
              <a:ext uri="{FF2B5EF4-FFF2-40B4-BE49-F238E27FC236}">
                <a16:creationId xmlns:a16="http://schemas.microsoft.com/office/drawing/2014/main" id="{50796232-76E6-4AF5-6C92-339DCF32BDEB}"/>
              </a:ext>
            </a:extLst>
          </p:cNvPr>
          <p:cNvSpPr>
            <a:spLocks noGrp="1"/>
          </p:cNvSpPr>
          <p:nvPr>
            <p:ph sz="quarter" idx="14"/>
          </p:nvPr>
        </p:nvSpPr>
        <p:spPr/>
        <p:txBody>
          <a:bodyPr/>
          <a:lstStyle/>
          <a:p>
            <a:pPr marL="555750" lvl="1" indent="-285750"/>
            <a:r>
              <a:rPr lang="en-GB" sz="2000" b="1" dirty="0" err="1"/>
              <a:t>Perfil</a:t>
            </a:r>
            <a:r>
              <a:rPr lang="en-GB" sz="2000" b="1" dirty="0"/>
              <a:t> de </a:t>
            </a:r>
            <a:r>
              <a:rPr lang="en-GB" sz="2000" b="1" dirty="0" err="1"/>
              <a:t>Edades</a:t>
            </a:r>
            <a:r>
              <a:rPr lang="en-GB" sz="2000" b="1" dirty="0"/>
              <a:t>:</a:t>
            </a:r>
          </a:p>
          <a:p>
            <a:pPr marL="825750" lvl="2" indent="-285750"/>
            <a:r>
              <a:rPr lang="en-GB" sz="2000" dirty="0" err="1"/>
              <a:t>Promedio</a:t>
            </a:r>
            <a:endParaRPr lang="en-GB" sz="2000" dirty="0"/>
          </a:p>
          <a:p>
            <a:pPr marL="825750" lvl="2" indent="-285750"/>
            <a:r>
              <a:rPr lang="en-GB" sz="2000" dirty="0" err="1"/>
              <a:t>Ponderada</a:t>
            </a:r>
            <a:endParaRPr lang="en-GB" sz="2000" dirty="0"/>
          </a:p>
          <a:p>
            <a:pPr marL="825750" lvl="2" indent="-285750"/>
            <a:r>
              <a:rPr lang="en-GB" sz="2000" dirty="0"/>
              <a:t>Actuarial</a:t>
            </a:r>
          </a:p>
          <a:p>
            <a:pPr marL="825750" lvl="2" indent="-285750"/>
            <a:r>
              <a:rPr lang="en-GB" sz="2000" dirty="0"/>
              <a:t>Actuarial </a:t>
            </a:r>
            <a:r>
              <a:rPr lang="en-GB" sz="2000" dirty="0" err="1"/>
              <a:t>Ponderada</a:t>
            </a:r>
            <a:endParaRPr lang="en-GB" sz="2000" dirty="0"/>
          </a:p>
          <a:p>
            <a:pPr marL="555750" lvl="1" indent="-285750"/>
            <a:r>
              <a:rPr lang="en-GB" sz="2000" b="1" dirty="0" err="1"/>
              <a:t>Perfil</a:t>
            </a:r>
            <a:r>
              <a:rPr lang="en-GB" sz="2000" b="1" dirty="0"/>
              <a:t> de SA</a:t>
            </a:r>
          </a:p>
          <a:p>
            <a:pPr marL="825750" lvl="2" indent="-285750"/>
            <a:r>
              <a:rPr lang="en-GB" sz="2000" dirty="0" err="1"/>
              <a:t>Picos</a:t>
            </a:r>
            <a:r>
              <a:rPr lang="en-GB" sz="2000" dirty="0"/>
              <a:t> de SA</a:t>
            </a:r>
          </a:p>
          <a:p>
            <a:pPr marL="825750" lvl="2" indent="-285750"/>
            <a:r>
              <a:rPr lang="en-GB" sz="2000" dirty="0"/>
              <a:t>SA </a:t>
            </a:r>
            <a:r>
              <a:rPr lang="en-GB" sz="2000" dirty="0" err="1"/>
              <a:t>promedio</a:t>
            </a:r>
            <a:endParaRPr lang="en-GB" sz="2000" dirty="0"/>
          </a:p>
          <a:p>
            <a:pPr marL="825750" lvl="2" indent="-285750"/>
            <a:r>
              <a:rPr lang="en-GB" sz="2000" dirty="0"/>
              <a:t>SA max </a:t>
            </a:r>
            <a:r>
              <a:rPr lang="en-GB" sz="2000" dirty="0" err="1"/>
              <a:t>retenida</a:t>
            </a:r>
            <a:endParaRPr lang="en-GB" sz="2000" dirty="0"/>
          </a:p>
          <a:p>
            <a:pPr marL="555750" lvl="1" indent="-285750"/>
            <a:r>
              <a:rPr lang="en-GB" sz="2000" b="1" dirty="0" err="1"/>
              <a:t>Ocupaciones</a:t>
            </a:r>
            <a:r>
              <a:rPr lang="en-GB" sz="2000" b="1" dirty="0"/>
              <a:t> </a:t>
            </a:r>
            <a:r>
              <a:rPr lang="en-GB" sz="2000" b="1" dirty="0" err="1"/>
              <a:t>peligrosas</a:t>
            </a:r>
            <a:endParaRPr lang="en-GB" sz="2000" b="1" dirty="0"/>
          </a:p>
          <a:p>
            <a:pPr marL="555750" lvl="1" indent="-285750"/>
            <a:r>
              <a:rPr lang="en-GB" sz="2000" b="1" dirty="0"/>
              <a:t>Suma </a:t>
            </a:r>
            <a:r>
              <a:rPr lang="en-GB" sz="2000" b="1" dirty="0" err="1"/>
              <a:t>Asegurada</a:t>
            </a:r>
            <a:r>
              <a:rPr lang="en-GB" sz="2000" b="1" dirty="0"/>
              <a:t> </a:t>
            </a:r>
            <a:r>
              <a:rPr lang="en-GB" sz="2000" b="1" dirty="0" err="1"/>
              <a:t>Máxima</a:t>
            </a:r>
            <a:r>
              <a:rPr lang="en-GB" sz="2000" b="1" dirty="0"/>
              <a:t> sin </a:t>
            </a:r>
            <a:r>
              <a:rPr lang="en-GB" sz="2000" b="1" dirty="0" err="1"/>
              <a:t>Requisitos</a:t>
            </a:r>
            <a:r>
              <a:rPr lang="en-GB" sz="2000" b="1" dirty="0"/>
              <a:t> de </a:t>
            </a:r>
            <a:r>
              <a:rPr lang="en-GB" sz="2000" b="1" dirty="0" err="1"/>
              <a:t>Asegurabilidad</a:t>
            </a:r>
            <a:endParaRPr lang="en-GB" sz="2000" b="1" dirty="0"/>
          </a:p>
          <a:p>
            <a:endParaRPr lang="en-GB" sz="1600" dirty="0"/>
          </a:p>
        </p:txBody>
      </p:sp>
      <p:pic>
        <p:nvPicPr>
          <p:cNvPr id="4098" name="Picture 2" descr="Population icon set black filled and outlined style. 50221488 Vector Art at  Vecteezy">
            <a:extLst>
              <a:ext uri="{FF2B5EF4-FFF2-40B4-BE49-F238E27FC236}">
                <a16:creationId xmlns:a16="http://schemas.microsoft.com/office/drawing/2014/main" id="{BC47A302-91BE-ECAC-38AC-9DD6F6E100C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6852" t="12416" r="10186" b="11898"/>
          <a:stretch/>
        </p:blipFill>
        <p:spPr bwMode="auto">
          <a:xfrm>
            <a:off x="7714198" y="1693334"/>
            <a:ext cx="2220024" cy="264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954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387303-5CC4-694B-9AFE-048E2C4E1048}"/>
              </a:ext>
            </a:extLst>
          </p:cNvPr>
          <p:cNvSpPr>
            <a:spLocks noGrp="1"/>
          </p:cNvSpPr>
          <p:nvPr>
            <p:ph sz="quarter" idx="12"/>
          </p:nvPr>
        </p:nvSpPr>
        <p:spPr/>
        <p:txBody>
          <a:bodyPr/>
          <a:lstStyle/>
          <a:p>
            <a:endParaRPr lang="en-GB" sz="2000" b="1" dirty="0">
              <a:solidFill>
                <a:schemeClr val="accent2"/>
              </a:solidFill>
            </a:endParaRPr>
          </a:p>
          <a:p>
            <a:endParaRPr lang="en-GB" sz="2000" b="1" dirty="0">
              <a:solidFill>
                <a:schemeClr val="accent2"/>
              </a:solidFill>
            </a:endParaRPr>
          </a:p>
          <a:p>
            <a:r>
              <a:rPr lang="en-GB" sz="2000" b="1" dirty="0" err="1">
                <a:solidFill>
                  <a:schemeClr val="accent2"/>
                </a:solidFill>
              </a:rPr>
              <a:t>Probabilidad</a:t>
            </a:r>
            <a:endParaRPr lang="en-GB" sz="2000" b="1" dirty="0">
              <a:solidFill>
                <a:schemeClr val="accent2"/>
              </a:solidFill>
            </a:endParaRPr>
          </a:p>
          <a:p>
            <a:pPr marL="0" indent="0">
              <a:buNone/>
            </a:pPr>
            <a:r>
              <a:rPr lang="en-GB" dirty="0" err="1"/>
              <a:t>Descripción</a:t>
            </a:r>
            <a:r>
              <a:rPr lang="en-GB" dirty="0"/>
              <a:t> </a:t>
            </a:r>
            <a:r>
              <a:rPr lang="en-GB" dirty="0" err="1"/>
              <a:t>numérica</a:t>
            </a:r>
            <a:r>
              <a:rPr lang="en-GB" dirty="0"/>
              <a:t> de que tan possible o plausible un </a:t>
            </a:r>
            <a:r>
              <a:rPr lang="en-GB" dirty="0" err="1"/>
              <a:t>evento</a:t>
            </a:r>
            <a:r>
              <a:rPr lang="en-GB" dirty="0"/>
              <a:t> </a:t>
            </a:r>
            <a:r>
              <a:rPr lang="en-GB" dirty="0" err="1"/>
              <a:t>ocurra</a:t>
            </a:r>
            <a:r>
              <a:rPr lang="en-GB" dirty="0"/>
              <a:t>.</a:t>
            </a:r>
          </a:p>
          <a:p>
            <a:pPr marL="0" indent="0">
              <a:buNone/>
            </a:pPr>
            <a:endParaRPr lang="en-GB" dirty="0"/>
          </a:p>
          <a:p>
            <a:pPr marL="0" indent="0">
              <a:buNone/>
            </a:pPr>
            <a:endParaRPr lang="en-GB" dirty="0"/>
          </a:p>
          <a:p>
            <a:pPr marL="0" indent="0">
              <a:buNone/>
            </a:pPr>
            <a:r>
              <a:rPr lang="en-GB" dirty="0"/>
              <a:t>			Para </a:t>
            </a:r>
            <a:r>
              <a:rPr lang="en-GB" dirty="0" err="1"/>
              <a:t>determinado</a:t>
            </a:r>
            <a:r>
              <a:rPr lang="en-GB" dirty="0"/>
              <a:t> </a:t>
            </a:r>
            <a:r>
              <a:rPr lang="en-GB" dirty="0" err="1"/>
              <a:t>periodo</a:t>
            </a:r>
            <a:r>
              <a:rPr lang="en-GB" dirty="0"/>
              <a:t> y </a:t>
            </a:r>
            <a:r>
              <a:rPr lang="en-GB" dirty="0" err="1"/>
              <a:t>determinada</a:t>
            </a:r>
            <a:r>
              <a:rPr lang="en-GB" dirty="0"/>
              <a:t> población.</a:t>
            </a:r>
          </a:p>
        </p:txBody>
      </p:sp>
      <p:sp>
        <p:nvSpPr>
          <p:cNvPr id="3" name="Title 2">
            <a:extLst>
              <a:ext uri="{FF2B5EF4-FFF2-40B4-BE49-F238E27FC236}">
                <a16:creationId xmlns:a16="http://schemas.microsoft.com/office/drawing/2014/main" id="{473A3E30-FA4B-594E-DDBA-24F7B4AD15E8}"/>
              </a:ext>
            </a:extLst>
          </p:cNvPr>
          <p:cNvSpPr>
            <a:spLocks noGrp="1"/>
          </p:cNvSpPr>
          <p:nvPr>
            <p:ph type="title"/>
          </p:nvPr>
        </p:nvSpPr>
        <p:spPr/>
        <p:txBody>
          <a:bodyPr/>
          <a:lstStyle/>
          <a:p>
            <a:r>
              <a:rPr lang="en-GB" dirty="0" err="1"/>
              <a:t>Algunos</a:t>
            </a:r>
            <a:r>
              <a:rPr lang="en-GB" dirty="0"/>
              <a:t> </a:t>
            </a:r>
            <a:r>
              <a:rPr lang="en-GB" dirty="0" err="1"/>
              <a:t>conceptos</a:t>
            </a:r>
            <a:endParaRPr lang="en-GB"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A0DEB8B0-928C-30BF-61D5-8486279A8785}"/>
                  </a:ext>
                </a:extLst>
              </p:cNvPr>
              <p:cNvSpPr txBox="1"/>
              <p:nvPr/>
            </p:nvSpPr>
            <p:spPr bwMode="gray">
              <a:xfrm>
                <a:off x="1918533" y="4683664"/>
                <a:ext cx="914400" cy="914400"/>
              </a:xfrm>
              <a:prstGeom prst="rect">
                <a:avLst/>
              </a:prstGeom>
              <a:noFill/>
            </p:spPr>
            <p:txBody>
              <a:bodyPr wrap="none" lIns="0" tIns="0" rIns="0" bIns="0" rtlCol="0">
                <a:noAutofit/>
              </a:bodyPr>
              <a:lstStyle/>
              <a:p>
                <a:pPr marL="0" indent="0" algn="l">
                  <a:spcBef>
                    <a:spcPts val="300"/>
                  </a:spcBef>
                  <a:buClr>
                    <a:schemeClr val="accent2"/>
                  </a:buClr>
                  <a:buFont typeface="Arial" panose="020B0604020202020204" pitchFamily="34" charset="0"/>
                  <a:buNone/>
                </a:pPr>
                <a14:m>
                  <m:oMathPara xmlns:m="http://schemas.openxmlformats.org/officeDocument/2006/math">
                    <m:oMathParaPr>
                      <m:jc m:val="centerGroup"/>
                    </m:oMathParaPr>
                    <m:oMath xmlns:m="http://schemas.openxmlformats.org/officeDocument/2006/math">
                      <m:f>
                        <m:fPr>
                          <m:ctrlPr>
                            <a:rPr lang="en-GB" sz="2000" i="1" smtClean="0">
                              <a:latin typeface="Cambria Math" panose="02040503050406030204" pitchFamily="18" charset="0"/>
                            </a:rPr>
                          </m:ctrlPr>
                        </m:fPr>
                        <m:num>
                          <m:r>
                            <a:rPr lang="es-MX" sz="2000" b="0" i="1" smtClean="0">
                              <a:latin typeface="Cambria Math" panose="02040503050406030204" pitchFamily="18" charset="0"/>
                            </a:rPr>
                            <m:t>¿</m:t>
                          </m:r>
                          <m:r>
                            <a:rPr lang="es-MX" sz="2000" b="0" i="1" smtClean="0">
                              <a:latin typeface="Cambria Math" panose="02040503050406030204" pitchFamily="18" charset="0"/>
                            </a:rPr>
                            <m:t>𝐶𝑢</m:t>
                          </m:r>
                          <m:r>
                            <a:rPr lang="es-MX" sz="2000" b="0" i="1" smtClean="0">
                              <a:latin typeface="Cambria Math" panose="02040503050406030204" pitchFamily="18" charset="0"/>
                            </a:rPr>
                            <m:t>á</m:t>
                          </m:r>
                          <m:r>
                            <a:rPr lang="es-MX" sz="2000" b="0" i="1" smtClean="0">
                              <a:latin typeface="Cambria Math" panose="02040503050406030204" pitchFamily="18" charset="0"/>
                            </a:rPr>
                            <m:t>𝑛𝑡𝑜𝑠</m:t>
                          </m:r>
                          <m:r>
                            <a:rPr lang="es-MX" sz="2000" b="0" i="1" smtClean="0">
                              <a:latin typeface="Cambria Math" panose="02040503050406030204" pitchFamily="18" charset="0"/>
                            </a:rPr>
                            <m:t> </m:t>
                          </m:r>
                          <m:r>
                            <a:rPr lang="es-MX" sz="2000" b="0" i="1" smtClean="0">
                              <a:latin typeface="Cambria Math" panose="02040503050406030204" pitchFamily="18" charset="0"/>
                            </a:rPr>
                            <m:t>𝑒𝑣𝑒𝑛𝑡𝑜𝑠</m:t>
                          </m:r>
                          <m:r>
                            <a:rPr lang="es-MX" sz="2000" b="0" i="1" smtClean="0">
                              <a:latin typeface="Cambria Math" panose="02040503050406030204" pitchFamily="18" charset="0"/>
                            </a:rPr>
                            <m:t> </m:t>
                          </m:r>
                          <m:r>
                            <a:rPr lang="es-MX" sz="2000" b="0" i="1" smtClean="0">
                              <a:latin typeface="Cambria Math" panose="02040503050406030204" pitchFamily="18" charset="0"/>
                            </a:rPr>
                            <m:t>𝑜𝑐𝑢𝑟𝑟𝑖𝑒𝑟𝑜𝑛</m:t>
                          </m:r>
                          <m:r>
                            <a:rPr lang="es-MX" sz="2000" b="0" i="1" smtClean="0">
                              <a:latin typeface="Cambria Math" panose="02040503050406030204" pitchFamily="18" charset="0"/>
                            </a:rPr>
                            <m:t>? </m:t>
                          </m:r>
                        </m:num>
                        <m:den>
                          <m:r>
                            <a:rPr lang="es-MX" sz="2000" b="0" i="1" smtClean="0">
                              <a:latin typeface="Cambria Math" panose="02040503050406030204" pitchFamily="18" charset="0"/>
                            </a:rPr>
                            <m:t>¿</m:t>
                          </m:r>
                          <m:r>
                            <a:rPr lang="es-MX" sz="2000" b="0" i="1" smtClean="0">
                              <a:latin typeface="Cambria Math" panose="02040503050406030204" pitchFamily="18" charset="0"/>
                            </a:rPr>
                            <m:t>𝐶𝑢</m:t>
                          </m:r>
                          <m:r>
                            <a:rPr lang="es-MX" sz="2000" b="0" i="1" smtClean="0">
                              <a:latin typeface="Cambria Math" panose="02040503050406030204" pitchFamily="18" charset="0"/>
                            </a:rPr>
                            <m:t>á</m:t>
                          </m:r>
                          <m:r>
                            <a:rPr lang="es-MX" sz="2000" b="0" i="1" smtClean="0">
                              <a:latin typeface="Cambria Math" panose="02040503050406030204" pitchFamily="18" charset="0"/>
                            </a:rPr>
                            <m:t>𝑛𝑡𝑎𝑠</m:t>
                          </m:r>
                          <m:r>
                            <a:rPr lang="es-MX" sz="2000" b="0" i="1" smtClean="0">
                              <a:latin typeface="Cambria Math" panose="02040503050406030204" pitchFamily="18" charset="0"/>
                            </a:rPr>
                            <m:t> </m:t>
                          </m:r>
                          <m:r>
                            <a:rPr lang="es-MX" sz="2000" b="0" i="1" smtClean="0">
                              <a:latin typeface="Cambria Math" panose="02040503050406030204" pitchFamily="18" charset="0"/>
                            </a:rPr>
                            <m:t>𝑝𝑒𝑟𝑠𝑜𝑛𝑎𝑠</m:t>
                          </m:r>
                          <m:r>
                            <a:rPr lang="es-MX" sz="2000" b="0" i="1" smtClean="0">
                              <a:latin typeface="Cambria Math" panose="02040503050406030204" pitchFamily="18" charset="0"/>
                            </a:rPr>
                            <m:t> </m:t>
                          </m:r>
                          <m:r>
                            <a:rPr lang="es-MX" sz="2000" b="0" i="1" smtClean="0">
                              <a:latin typeface="Cambria Math" panose="02040503050406030204" pitchFamily="18" charset="0"/>
                            </a:rPr>
                            <m:t>𝑒𝑠𝑡𝑢𝑣𝑖𝑒𝑟𝑜𝑛</m:t>
                          </m:r>
                          <m:r>
                            <a:rPr lang="es-MX" sz="2000" b="0" i="1" smtClean="0">
                              <a:latin typeface="Cambria Math" panose="02040503050406030204" pitchFamily="18" charset="0"/>
                            </a:rPr>
                            <m:t> </m:t>
                          </m:r>
                          <m:r>
                            <a:rPr lang="es-MX" sz="2000" b="0" i="1" smtClean="0">
                              <a:latin typeface="Cambria Math" panose="02040503050406030204" pitchFamily="18" charset="0"/>
                            </a:rPr>
                            <m:t>𝑒𝑥𝑝𝑢𝑒𝑠𝑡𝑎𝑠</m:t>
                          </m:r>
                          <m:r>
                            <a:rPr lang="es-MX" sz="2000" b="0" i="1" smtClean="0">
                              <a:latin typeface="Cambria Math" panose="02040503050406030204" pitchFamily="18" charset="0"/>
                            </a:rPr>
                            <m:t>?</m:t>
                          </m:r>
                        </m:den>
                      </m:f>
                      <m:r>
                        <a:rPr lang="es-MX" sz="2000" b="0" i="1" smtClean="0">
                          <a:latin typeface="Cambria Math" panose="02040503050406030204" pitchFamily="18" charset="0"/>
                        </a:rPr>
                        <m:t>= </m:t>
                      </m:r>
                      <m:f>
                        <m:fPr>
                          <m:ctrlPr>
                            <a:rPr lang="es-MX" sz="2000" b="0" i="1" smtClean="0">
                              <a:latin typeface="Cambria Math" panose="02040503050406030204" pitchFamily="18" charset="0"/>
                            </a:rPr>
                          </m:ctrlPr>
                        </m:fPr>
                        <m:num>
                          <m:r>
                            <a:rPr lang="es-MX" sz="2000" b="0" i="1" smtClean="0">
                              <a:latin typeface="Cambria Math" panose="02040503050406030204" pitchFamily="18" charset="0"/>
                            </a:rPr>
                            <m:t>¿</m:t>
                          </m:r>
                          <m:r>
                            <a:rPr lang="es-MX" sz="2000" b="0" i="1" smtClean="0">
                              <a:latin typeface="Cambria Math" panose="02040503050406030204" pitchFamily="18" charset="0"/>
                            </a:rPr>
                            <m:t>𝑄𝑢𝑖</m:t>
                          </m:r>
                          <m:r>
                            <a:rPr lang="es-MX" sz="2000" b="0" i="1" smtClean="0">
                              <a:latin typeface="Cambria Math" panose="02040503050406030204" pitchFamily="18" charset="0"/>
                            </a:rPr>
                            <m:t>é</m:t>
                          </m:r>
                          <m:r>
                            <a:rPr lang="es-MX" sz="2000" b="0" i="1" smtClean="0">
                              <a:latin typeface="Cambria Math" panose="02040503050406030204" pitchFamily="18" charset="0"/>
                            </a:rPr>
                            <m:t>𝑛𝑒𝑠</m:t>
                          </m:r>
                          <m:r>
                            <a:rPr lang="es-MX" sz="2000" b="0" i="1" smtClean="0">
                              <a:latin typeface="Cambria Math" panose="02040503050406030204" pitchFamily="18" charset="0"/>
                            </a:rPr>
                            <m:t> </m:t>
                          </m:r>
                          <m:r>
                            <a:rPr lang="es-MX" sz="2000" b="0" i="1" smtClean="0">
                              <a:latin typeface="Cambria Math" panose="02040503050406030204" pitchFamily="18" charset="0"/>
                            </a:rPr>
                            <m:t>𝑚𝑒</m:t>
                          </m:r>
                          <m:r>
                            <a:rPr lang="es-MX" sz="2000" b="0" i="1" smtClean="0">
                              <a:latin typeface="Cambria Math" panose="02040503050406030204" pitchFamily="18" charset="0"/>
                            </a:rPr>
                            <m:t> </m:t>
                          </m:r>
                          <m:r>
                            <a:rPr lang="es-MX" sz="2000" b="0" i="1" smtClean="0">
                              <a:latin typeface="Cambria Math" panose="02040503050406030204" pitchFamily="18" charset="0"/>
                            </a:rPr>
                            <m:t>𝑣𝑎𝑛</m:t>
                          </m:r>
                          <m:r>
                            <a:rPr lang="es-MX" sz="2000" b="0" i="1" smtClean="0">
                              <a:latin typeface="Cambria Math" panose="02040503050406030204" pitchFamily="18" charset="0"/>
                            </a:rPr>
                            <m:t> </m:t>
                          </m:r>
                          <m:r>
                            <a:rPr lang="es-MX" sz="2000" b="0" i="1" smtClean="0">
                              <a:latin typeface="Cambria Math" panose="02040503050406030204" pitchFamily="18" charset="0"/>
                            </a:rPr>
                            <m:t>𝑎</m:t>
                          </m:r>
                          <m:r>
                            <a:rPr lang="es-MX" sz="2000" b="0" i="1" smtClean="0">
                              <a:latin typeface="Cambria Math" panose="02040503050406030204" pitchFamily="18" charset="0"/>
                            </a:rPr>
                            <m:t> </m:t>
                          </m:r>
                          <m:r>
                            <a:rPr lang="es-MX" sz="2000" b="0" i="1" smtClean="0">
                              <a:latin typeface="Cambria Math" panose="02040503050406030204" pitchFamily="18" charset="0"/>
                            </a:rPr>
                            <m:t>𝑟𝑒𝑐𝑙𝑎𝑚𝑎𝑟</m:t>
                          </m:r>
                          <m:r>
                            <a:rPr lang="es-MX" sz="2000" b="0" i="1" smtClean="0">
                              <a:latin typeface="Cambria Math" panose="02040503050406030204" pitchFamily="18" charset="0"/>
                            </a:rPr>
                            <m:t>?</m:t>
                          </m:r>
                        </m:num>
                        <m:den>
                          <m:r>
                            <a:rPr lang="es-MX" sz="2000" b="0" i="1" smtClean="0">
                              <a:latin typeface="Cambria Math" panose="02040503050406030204" pitchFamily="18" charset="0"/>
                            </a:rPr>
                            <m:t>¿</m:t>
                          </m:r>
                          <m:r>
                            <a:rPr lang="es-MX" sz="2000" b="0" i="1" smtClean="0">
                              <a:latin typeface="Cambria Math" panose="02040503050406030204" pitchFamily="18" charset="0"/>
                            </a:rPr>
                            <m:t>𝑄𝑢𝑖</m:t>
                          </m:r>
                          <m:r>
                            <a:rPr lang="es-MX" sz="2000" b="0" i="1" smtClean="0">
                              <a:latin typeface="Cambria Math" panose="02040503050406030204" pitchFamily="18" charset="0"/>
                            </a:rPr>
                            <m:t>é</m:t>
                          </m:r>
                          <m:r>
                            <a:rPr lang="es-MX" sz="2000" b="0" i="1" smtClean="0">
                              <a:latin typeface="Cambria Math" panose="02040503050406030204" pitchFamily="18" charset="0"/>
                            </a:rPr>
                            <m:t>𝑛𝑒𝑠</m:t>
                          </m:r>
                          <m:r>
                            <a:rPr lang="es-MX" sz="2000" b="0" i="1" smtClean="0">
                              <a:latin typeface="Cambria Math" panose="02040503050406030204" pitchFamily="18" charset="0"/>
                            </a:rPr>
                            <m:t> </m:t>
                          </m:r>
                          <m:r>
                            <a:rPr lang="es-MX" sz="2000" b="0" i="1" smtClean="0">
                              <a:latin typeface="Cambria Math" panose="02040503050406030204" pitchFamily="18" charset="0"/>
                            </a:rPr>
                            <m:t>𝑚𝑒</m:t>
                          </m:r>
                          <m:r>
                            <a:rPr lang="es-MX" sz="2000" b="0" i="1" smtClean="0">
                              <a:latin typeface="Cambria Math" panose="02040503050406030204" pitchFamily="18" charset="0"/>
                            </a:rPr>
                            <m:t> </m:t>
                          </m:r>
                          <m:r>
                            <a:rPr lang="es-MX" sz="2000" b="0" i="1" smtClean="0">
                              <a:latin typeface="Cambria Math" panose="02040503050406030204" pitchFamily="18" charset="0"/>
                            </a:rPr>
                            <m:t>𝑣𝑎𝑛</m:t>
                          </m:r>
                          <m:r>
                            <a:rPr lang="es-MX" sz="2000" b="0" i="1" smtClean="0">
                              <a:latin typeface="Cambria Math" panose="02040503050406030204" pitchFamily="18" charset="0"/>
                            </a:rPr>
                            <m:t> </m:t>
                          </m:r>
                          <m:r>
                            <a:rPr lang="es-MX" sz="2000" b="0" i="1" smtClean="0">
                              <a:latin typeface="Cambria Math" panose="02040503050406030204" pitchFamily="18" charset="0"/>
                            </a:rPr>
                            <m:t>𝑎</m:t>
                          </m:r>
                          <m:r>
                            <a:rPr lang="es-MX" sz="2000" b="0" i="1" smtClean="0">
                              <a:latin typeface="Cambria Math" panose="02040503050406030204" pitchFamily="18" charset="0"/>
                            </a:rPr>
                            <m:t> </m:t>
                          </m:r>
                          <m:r>
                            <a:rPr lang="es-MX" sz="2000" b="0" i="1" smtClean="0">
                              <a:latin typeface="Cambria Math" panose="02040503050406030204" pitchFamily="18" charset="0"/>
                            </a:rPr>
                            <m:t>𝑝𝑎𝑔𝑎𝑟</m:t>
                          </m:r>
                          <m:r>
                            <a:rPr lang="es-MX" sz="2000" b="0" i="1" smtClean="0">
                              <a:latin typeface="Cambria Math" panose="02040503050406030204" pitchFamily="18" charset="0"/>
                            </a:rPr>
                            <m:t> </m:t>
                          </m:r>
                          <m:r>
                            <a:rPr lang="es-MX" sz="2000" b="0" i="1" smtClean="0">
                              <a:latin typeface="Cambria Math" panose="02040503050406030204" pitchFamily="18" charset="0"/>
                            </a:rPr>
                            <m:t>𝑙𝑎</m:t>
                          </m:r>
                          <m:r>
                            <a:rPr lang="es-MX" sz="2000" b="0" i="1" smtClean="0">
                              <a:latin typeface="Cambria Math" panose="02040503050406030204" pitchFamily="18" charset="0"/>
                            </a:rPr>
                            <m:t> </m:t>
                          </m:r>
                          <m:r>
                            <a:rPr lang="es-MX" sz="2000" b="0" i="1" smtClean="0">
                              <a:latin typeface="Cambria Math" panose="02040503050406030204" pitchFamily="18" charset="0"/>
                            </a:rPr>
                            <m:t>𝑝</m:t>
                          </m:r>
                          <m:r>
                            <a:rPr lang="es-MX" sz="2000" b="0" i="1" smtClean="0">
                              <a:latin typeface="Cambria Math" panose="02040503050406030204" pitchFamily="18" charset="0"/>
                            </a:rPr>
                            <m:t>ó</m:t>
                          </m:r>
                          <m:r>
                            <a:rPr lang="es-MX" sz="2000" b="0" i="1" smtClean="0">
                              <a:latin typeface="Cambria Math" panose="02040503050406030204" pitchFamily="18" charset="0"/>
                            </a:rPr>
                            <m:t>𝑙𝑖𝑧𝑎</m:t>
                          </m:r>
                          <m:r>
                            <a:rPr lang="es-MX" sz="2000" b="0" i="1" smtClean="0">
                              <a:latin typeface="Cambria Math" panose="02040503050406030204" pitchFamily="18" charset="0"/>
                            </a:rPr>
                            <m:t>?</m:t>
                          </m:r>
                        </m:den>
                      </m:f>
                    </m:oMath>
                  </m:oMathPara>
                </a14:m>
                <a:endParaRPr lang="en-GB" sz="2000" dirty="0" err="1"/>
              </a:p>
            </p:txBody>
          </p:sp>
        </mc:Choice>
        <mc:Fallback xmlns="">
          <p:sp>
            <p:nvSpPr>
              <p:cNvPr id="4" name="TextBox 3">
                <a:extLst>
                  <a:ext uri="{FF2B5EF4-FFF2-40B4-BE49-F238E27FC236}">
                    <a16:creationId xmlns:a16="http://schemas.microsoft.com/office/drawing/2014/main" id="{A0DEB8B0-928C-30BF-61D5-8486279A8785}"/>
                  </a:ext>
                </a:extLst>
              </p:cNvPr>
              <p:cNvSpPr txBox="1">
                <a:spLocks noRot="1" noChangeAspect="1" noMove="1" noResize="1" noEditPoints="1" noAdjustHandles="1" noChangeArrowheads="1" noChangeShapeType="1" noTextEdit="1"/>
              </p:cNvSpPr>
              <p:nvPr/>
            </p:nvSpPr>
            <p:spPr bwMode="gray">
              <a:xfrm>
                <a:off x="1918533" y="4683664"/>
                <a:ext cx="914400" cy="914400"/>
              </a:xfrm>
              <a:prstGeom prst="rect">
                <a:avLst/>
              </a:prstGeom>
              <a:blipFill>
                <a:blip r:embed="rId2"/>
                <a:stretch>
                  <a:fillRect l="-667" r="-912667"/>
                </a:stretch>
              </a:blipFill>
            </p:spPr>
            <p:txBody>
              <a:bodyPr/>
              <a:lstStyle/>
              <a:p>
                <a:r>
                  <a:rPr lang="en-GB">
                    <a:noFill/>
                  </a:rPr>
                  <a:t> </a:t>
                </a:r>
              </a:p>
            </p:txBody>
          </p:sp>
        </mc:Fallback>
      </mc:AlternateContent>
      <p:sp>
        <p:nvSpPr>
          <p:cNvPr id="5" name="Freeform 5">
            <a:extLst>
              <a:ext uri="{FF2B5EF4-FFF2-40B4-BE49-F238E27FC236}">
                <a16:creationId xmlns:a16="http://schemas.microsoft.com/office/drawing/2014/main" id="{382DCFAD-79D4-07AC-7F33-CE72F8A4B7E2}"/>
              </a:ext>
            </a:extLst>
          </p:cNvPr>
          <p:cNvSpPr>
            <a:spLocks noEditPoints="1"/>
          </p:cNvSpPr>
          <p:nvPr/>
        </p:nvSpPr>
        <p:spPr bwMode="auto">
          <a:xfrm>
            <a:off x="1559320" y="3280709"/>
            <a:ext cx="1333500" cy="763588"/>
          </a:xfrm>
          <a:custGeom>
            <a:avLst/>
            <a:gdLst>
              <a:gd name="T0" fmla="*/ 1437 w 2875"/>
              <a:gd name="T1" fmla="*/ 0 h 1643"/>
              <a:gd name="T2" fmla="*/ 0 w 2875"/>
              <a:gd name="T3" fmla="*/ 822 h 1643"/>
              <a:gd name="T4" fmla="*/ 1437 w 2875"/>
              <a:gd name="T5" fmla="*/ 1643 h 1643"/>
              <a:gd name="T6" fmla="*/ 2875 w 2875"/>
              <a:gd name="T7" fmla="*/ 822 h 1643"/>
              <a:gd name="T8" fmla="*/ 1437 w 2875"/>
              <a:gd name="T9" fmla="*/ 0 h 1643"/>
              <a:gd name="T10" fmla="*/ 1437 w 2875"/>
              <a:gd name="T11" fmla="*/ 1411 h 1643"/>
              <a:gd name="T12" fmla="*/ 848 w 2875"/>
              <a:gd name="T13" fmla="*/ 822 h 1643"/>
              <a:gd name="T14" fmla="*/ 1437 w 2875"/>
              <a:gd name="T15" fmla="*/ 232 h 1643"/>
              <a:gd name="T16" fmla="*/ 2027 w 2875"/>
              <a:gd name="T17" fmla="*/ 822 h 1643"/>
              <a:gd name="T18" fmla="*/ 1437 w 2875"/>
              <a:gd name="T19" fmla="*/ 1411 h 1643"/>
              <a:gd name="T20" fmla="*/ 1679 w 2875"/>
              <a:gd name="T21" fmla="*/ 822 h 1643"/>
              <a:gd name="T22" fmla="*/ 1437 w 2875"/>
              <a:gd name="T23" fmla="*/ 1063 h 1643"/>
              <a:gd name="T24" fmla="*/ 1196 w 2875"/>
              <a:gd name="T25" fmla="*/ 822 h 1643"/>
              <a:gd name="T26" fmla="*/ 1437 w 2875"/>
              <a:gd name="T27" fmla="*/ 580 h 1643"/>
              <a:gd name="T28" fmla="*/ 1679 w 2875"/>
              <a:gd name="T29" fmla="*/ 822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5" h="1643">
                <a:moveTo>
                  <a:pt x="1437" y="0"/>
                </a:moveTo>
                <a:cubicBezTo>
                  <a:pt x="644" y="0"/>
                  <a:pt x="0" y="822"/>
                  <a:pt x="0" y="822"/>
                </a:cubicBezTo>
                <a:cubicBezTo>
                  <a:pt x="0" y="822"/>
                  <a:pt x="644" y="1643"/>
                  <a:pt x="1437" y="1643"/>
                </a:cubicBezTo>
                <a:cubicBezTo>
                  <a:pt x="2231" y="1643"/>
                  <a:pt x="2875" y="822"/>
                  <a:pt x="2875" y="822"/>
                </a:cubicBezTo>
                <a:cubicBezTo>
                  <a:pt x="2875" y="822"/>
                  <a:pt x="2231" y="0"/>
                  <a:pt x="1437" y="0"/>
                </a:cubicBezTo>
                <a:close/>
                <a:moveTo>
                  <a:pt x="1437" y="1411"/>
                </a:moveTo>
                <a:cubicBezTo>
                  <a:pt x="1112" y="1411"/>
                  <a:pt x="848" y="1147"/>
                  <a:pt x="848" y="822"/>
                </a:cubicBezTo>
                <a:cubicBezTo>
                  <a:pt x="848" y="496"/>
                  <a:pt x="1112" y="232"/>
                  <a:pt x="1437" y="232"/>
                </a:cubicBezTo>
                <a:cubicBezTo>
                  <a:pt x="1763" y="232"/>
                  <a:pt x="2027" y="496"/>
                  <a:pt x="2027" y="822"/>
                </a:cubicBezTo>
                <a:cubicBezTo>
                  <a:pt x="2027" y="1147"/>
                  <a:pt x="1763" y="1411"/>
                  <a:pt x="1437" y="1411"/>
                </a:cubicBezTo>
                <a:close/>
                <a:moveTo>
                  <a:pt x="1679" y="822"/>
                </a:moveTo>
                <a:cubicBezTo>
                  <a:pt x="1679" y="955"/>
                  <a:pt x="1571" y="1063"/>
                  <a:pt x="1437" y="1063"/>
                </a:cubicBezTo>
                <a:cubicBezTo>
                  <a:pt x="1304" y="1063"/>
                  <a:pt x="1196" y="955"/>
                  <a:pt x="1196" y="822"/>
                </a:cubicBezTo>
                <a:cubicBezTo>
                  <a:pt x="1196" y="688"/>
                  <a:pt x="1304" y="580"/>
                  <a:pt x="1437" y="580"/>
                </a:cubicBezTo>
                <a:cubicBezTo>
                  <a:pt x="1571" y="580"/>
                  <a:pt x="1679" y="688"/>
                  <a:pt x="1679" y="822"/>
                </a:cubicBezTo>
                <a:close/>
              </a:path>
            </a:pathLst>
          </a:custGeom>
          <a:solidFill>
            <a:srgbClr val="009EE0"/>
          </a:solidFill>
          <a:ln>
            <a:noFill/>
          </a:ln>
        </p:spPr>
        <p:txBody>
          <a:bodyPr vert="horz" wrap="square" lIns="91440" tIns="45720" rIns="91440" bIns="45720" numCol="1" anchor="t" anchorCtr="0" compatLnSpc="1">
            <a:prstTxWarp prst="textNoShape">
              <a:avLst/>
            </a:prstTxWarp>
          </a:bodyPr>
          <a:lstStyle/>
          <a:p>
            <a:endParaRPr lang="en-GB" dirty="0"/>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73505A3-B540-5AB6-18CF-49F86818AFDB}"/>
                  </a:ext>
                </a:extLst>
              </p:cNvPr>
              <p:cNvSpPr txBox="1"/>
              <p:nvPr/>
            </p:nvSpPr>
            <p:spPr bwMode="gray">
              <a:xfrm>
                <a:off x="8904719" y="1256232"/>
                <a:ext cx="2183451" cy="1460455"/>
              </a:xfrm>
              <a:prstGeom prst="rect">
                <a:avLst/>
              </a:prstGeom>
              <a:noFill/>
            </p:spPr>
            <p:txBody>
              <a:bodyPr wrap="none" lIns="0" tIns="0" rIns="0" bIns="0" rtlCol="0">
                <a:noAutofit/>
              </a:bodyPr>
              <a:lstStyle/>
              <a:p>
                <a:pPr marL="0" indent="0" algn="l">
                  <a:spcBef>
                    <a:spcPts val="300"/>
                  </a:spcBef>
                  <a:buClr>
                    <a:schemeClr val="accent2"/>
                  </a:buClr>
                  <a:buFont typeface="Arial" panose="020B0604020202020204" pitchFamily="34" charset="0"/>
                  <a:buNone/>
                </a:pPr>
                <a14:m>
                  <m:oMathPara xmlns:m="http://schemas.openxmlformats.org/officeDocument/2006/math">
                    <m:oMathParaPr>
                      <m:jc m:val="centerGroup"/>
                    </m:oMathParaPr>
                    <m:oMath xmlns:m="http://schemas.openxmlformats.org/officeDocument/2006/math">
                      <m:r>
                        <a:rPr lang="es-MX" sz="5400" b="0" i="1" smtClean="0">
                          <a:solidFill>
                            <a:schemeClr val="accent1"/>
                          </a:solidFill>
                          <a:latin typeface="Cambria Math" panose="02040503050406030204" pitchFamily="18" charset="0"/>
                        </a:rPr>
                        <m:t>[</m:t>
                      </m:r>
                      <m:r>
                        <a:rPr lang="es-MX" sz="5400" b="0" i="1" smtClean="0">
                          <a:latin typeface="Cambria Math" panose="02040503050406030204" pitchFamily="18" charset="0"/>
                        </a:rPr>
                        <m:t>0 , 1</m:t>
                      </m:r>
                      <m:r>
                        <a:rPr lang="es-MX" sz="5400" b="0" i="1" smtClean="0">
                          <a:solidFill>
                            <a:schemeClr val="accent1"/>
                          </a:solidFill>
                          <a:latin typeface="Cambria Math" panose="02040503050406030204" pitchFamily="18" charset="0"/>
                        </a:rPr>
                        <m:t>]</m:t>
                      </m:r>
                    </m:oMath>
                  </m:oMathPara>
                </a14:m>
                <a:endParaRPr lang="en-GB" sz="5400" dirty="0" err="1"/>
              </a:p>
            </p:txBody>
          </p:sp>
        </mc:Choice>
        <mc:Fallback xmlns="">
          <p:sp>
            <p:nvSpPr>
              <p:cNvPr id="6" name="TextBox 5">
                <a:extLst>
                  <a:ext uri="{FF2B5EF4-FFF2-40B4-BE49-F238E27FC236}">
                    <a16:creationId xmlns:a16="http://schemas.microsoft.com/office/drawing/2014/main" id="{073505A3-B540-5AB6-18CF-49F86818AFDB}"/>
                  </a:ext>
                </a:extLst>
              </p:cNvPr>
              <p:cNvSpPr txBox="1">
                <a:spLocks noRot="1" noChangeAspect="1" noMove="1" noResize="1" noEditPoints="1" noAdjustHandles="1" noChangeArrowheads="1" noChangeShapeType="1" noTextEdit="1"/>
              </p:cNvSpPr>
              <p:nvPr/>
            </p:nvSpPr>
            <p:spPr bwMode="gray">
              <a:xfrm>
                <a:off x="8904719" y="1256232"/>
                <a:ext cx="2183451" cy="1460455"/>
              </a:xfrm>
              <a:prstGeom prst="rect">
                <a:avLst/>
              </a:prstGeom>
              <a:blipFill>
                <a:blip r:embed="rId3"/>
                <a:stretch>
                  <a:fillRect/>
                </a:stretch>
              </a:blipFill>
            </p:spPr>
            <p:txBody>
              <a:bodyPr/>
              <a:lstStyle/>
              <a:p>
                <a:r>
                  <a:rPr lang="en-GB">
                    <a:noFill/>
                  </a:rPr>
                  <a:t> </a:t>
                </a:r>
              </a:p>
            </p:txBody>
          </p:sp>
        </mc:Fallback>
      </mc:AlternateContent>
      <p:cxnSp>
        <p:nvCxnSpPr>
          <p:cNvPr id="8" name="Straight Arrow Connector 7">
            <a:extLst>
              <a:ext uri="{FF2B5EF4-FFF2-40B4-BE49-F238E27FC236}">
                <a16:creationId xmlns:a16="http://schemas.microsoft.com/office/drawing/2014/main" id="{FBBE2342-5233-FA50-5F56-1E19EDBB8DF1}"/>
              </a:ext>
            </a:extLst>
          </p:cNvPr>
          <p:cNvCxnSpPr/>
          <p:nvPr/>
        </p:nvCxnSpPr>
        <p:spPr bwMode="gray">
          <a:xfrm flipV="1">
            <a:off x="9340553" y="2097116"/>
            <a:ext cx="282011" cy="1116103"/>
          </a:xfrm>
          <a:prstGeom prst="straightConnector1">
            <a:avLst/>
          </a:prstGeom>
          <a:solidFill>
            <a:schemeClr val="bg1"/>
          </a:solidFill>
          <a:ln w="9525"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F320507C-110C-F77A-889E-A39B6C0388DB}"/>
              </a:ext>
            </a:extLst>
          </p:cNvPr>
          <p:cNvSpPr txBox="1"/>
          <p:nvPr/>
        </p:nvSpPr>
        <p:spPr bwMode="gray">
          <a:xfrm>
            <a:off x="8834217" y="3324881"/>
            <a:ext cx="769118" cy="467882"/>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r>
              <a:rPr lang="en-GB" sz="1200" dirty="0"/>
              <a:t>No </a:t>
            </a:r>
            <a:r>
              <a:rPr lang="en-GB" sz="1200" dirty="0" err="1"/>
              <a:t>va</a:t>
            </a:r>
            <a:r>
              <a:rPr lang="en-GB" sz="1200" dirty="0"/>
              <a:t> a </a:t>
            </a:r>
            <a:r>
              <a:rPr lang="en-GB" sz="1200" dirty="0" err="1"/>
              <a:t>ocurrir</a:t>
            </a:r>
            <a:endParaRPr lang="en-GB" sz="1200" dirty="0"/>
          </a:p>
        </p:txBody>
      </p:sp>
      <p:cxnSp>
        <p:nvCxnSpPr>
          <p:cNvPr id="12" name="Straight Arrow Connector 11">
            <a:extLst>
              <a:ext uri="{FF2B5EF4-FFF2-40B4-BE49-F238E27FC236}">
                <a16:creationId xmlns:a16="http://schemas.microsoft.com/office/drawing/2014/main" id="{95EBB000-D3C2-2D69-5DCE-688ECDAFCCA3}"/>
              </a:ext>
            </a:extLst>
          </p:cNvPr>
          <p:cNvCxnSpPr/>
          <p:nvPr/>
        </p:nvCxnSpPr>
        <p:spPr bwMode="gray">
          <a:xfrm flipH="1" flipV="1">
            <a:off x="10391682" y="2085740"/>
            <a:ext cx="365330" cy="1194969"/>
          </a:xfrm>
          <a:prstGeom prst="straightConnector1">
            <a:avLst/>
          </a:prstGeom>
          <a:solidFill>
            <a:schemeClr val="bg1"/>
          </a:solidFill>
          <a:ln w="9525"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Box 12">
            <a:extLst>
              <a:ext uri="{FF2B5EF4-FFF2-40B4-BE49-F238E27FC236}">
                <a16:creationId xmlns:a16="http://schemas.microsoft.com/office/drawing/2014/main" id="{30011D2C-8018-CC21-A193-1025FEF5C78E}"/>
              </a:ext>
            </a:extLst>
          </p:cNvPr>
          <p:cNvSpPr txBox="1"/>
          <p:nvPr/>
        </p:nvSpPr>
        <p:spPr bwMode="gray">
          <a:xfrm>
            <a:off x="10296007" y="3324881"/>
            <a:ext cx="1129719" cy="467882"/>
          </a:xfrm>
          <a:prstGeom prst="rect">
            <a:avLst/>
          </a:prstGeom>
          <a:noFill/>
        </p:spPr>
        <p:txBody>
          <a:bodyPr wrap="square" lIns="0" tIns="0" rIns="0" bIns="0" rtlCol="0">
            <a:noAutofit/>
          </a:bodyPr>
          <a:lstStyle/>
          <a:p>
            <a:pPr marL="0" indent="0" algn="ctr">
              <a:spcBef>
                <a:spcPts val="300"/>
              </a:spcBef>
              <a:buClr>
                <a:schemeClr val="accent2"/>
              </a:buClr>
              <a:buFont typeface="Arial" panose="020B0604020202020204" pitchFamily="34" charset="0"/>
              <a:buNone/>
            </a:pPr>
            <a:r>
              <a:rPr lang="en-GB" sz="1200" dirty="0" err="1"/>
              <a:t>Siempre</a:t>
            </a:r>
            <a:r>
              <a:rPr lang="en-GB" sz="1200" dirty="0"/>
              <a:t> </a:t>
            </a:r>
            <a:r>
              <a:rPr lang="en-GB" sz="1200" dirty="0" err="1"/>
              <a:t>va</a:t>
            </a:r>
            <a:r>
              <a:rPr lang="en-GB" sz="1200" dirty="0"/>
              <a:t> a </a:t>
            </a:r>
            <a:r>
              <a:rPr lang="en-GB" sz="1200" dirty="0" err="1"/>
              <a:t>ocurrir</a:t>
            </a:r>
            <a:endParaRPr lang="en-GB" sz="1200" dirty="0"/>
          </a:p>
        </p:txBody>
      </p:sp>
    </p:spTree>
    <p:extLst>
      <p:ext uri="{BB962C8B-B14F-4D97-AF65-F5344CB8AC3E}">
        <p14:creationId xmlns:p14="http://schemas.microsoft.com/office/powerpoint/2010/main" val="10785410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8C736-60EC-0D38-0D8A-394E19052C9F}"/>
              </a:ext>
            </a:extLst>
          </p:cNvPr>
          <p:cNvSpPr>
            <a:spLocks noGrp="1"/>
          </p:cNvSpPr>
          <p:nvPr>
            <p:ph type="title"/>
          </p:nvPr>
        </p:nvSpPr>
        <p:spPr>
          <a:xfrm>
            <a:off x="288131" y="443625"/>
            <a:ext cx="11615737" cy="612000"/>
          </a:xfrm>
        </p:spPr>
        <p:txBody>
          <a:bodyPr/>
          <a:lstStyle/>
          <a:p>
            <a:r>
              <a:rPr lang="en-GB" sz="2800" b="1" dirty="0" err="1"/>
              <a:t>Probabilidad</a:t>
            </a:r>
            <a:endParaRPr lang="en-GB" sz="2800" b="1" dirty="0"/>
          </a:p>
        </p:txBody>
      </p:sp>
      <p:sp>
        <p:nvSpPr>
          <p:cNvPr id="7" name="Text Placeholder 3">
            <a:extLst>
              <a:ext uri="{FF2B5EF4-FFF2-40B4-BE49-F238E27FC236}">
                <a16:creationId xmlns:a16="http://schemas.microsoft.com/office/drawing/2014/main" id="{1D2E2872-FB54-553A-A504-C0CB4AD86686}"/>
              </a:ext>
            </a:extLst>
          </p:cNvPr>
          <p:cNvSpPr txBox="1">
            <a:spLocks/>
          </p:cNvSpPr>
          <p:nvPr/>
        </p:nvSpPr>
        <p:spPr bwMode="gray">
          <a:xfrm>
            <a:off x="928870" y="1923758"/>
            <a:ext cx="5400063" cy="114646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lvl1pPr marL="268288" indent="-268288" algn="l" rtl="0" eaLnBrk="1" fontAlgn="base" hangingPunct="1">
              <a:lnSpc>
                <a:spcPct val="100000"/>
              </a:lnSpc>
              <a:spcBef>
                <a:spcPts val="600"/>
              </a:spcBef>
              <a:spcAft>
                <a:spcPts val="0"/>
              </a:spcAft>
              <a:buClr>
                <a:schemeClr val="accent2"/>
              </a:buClr>
              <a:buSzPct val="100000"/>
              <a:buFont typeface="Wingdings 3" pitchFamily="18" charset="2"/>
              <a:buChar char=""/>
              <a:defRPr lang="de-DE" sz="1600" b="0" i="0" baseline="0" smtClean="0">
                <a:solidFill>
                  <a:schemeClr val="tx1"/>
                </a:solidFill>
                <a:latin typeface="+mn-lt"/>
                <a:ea typeface="+mn-ea"/>
                <a:cs typeface="+mn-cs"/>
              </a:defRPr>
            </a:lvl1pPr>
            <a:lvl2pPr marL="431870" indent="-215935" algn="l" rtl="0" eaLnBrk="1" fontAlgn="base" hangingPunct="1">
              <a:lnSpc>
                <a:spcPct val="100000"/>
              </a:lnSpc>
              <a:spcBef>
                <a:spcPts val="300"/>
              </a:spcBef>
              <a:spcAft>
                <a:spcPts val="0"/>
              </a:spcAft>
              <a:buClr>
                <a:schemeClr val="accent2"/>
              </a:buClr>
              <a:buSzPct val="100000"/>
              <a:buFont typeface="Arial" panose="020B0604020202020204" pitchFamily="34" charset="0"/>
              <a:buChar char="–"/>
              <a:defRPr lang="de-DE" sz="1600" smtClean="0">
                <a:solidFill>
                  <a:schemeClr val="tx1"/>
                </a:solidFill>
                <a:latin typeface="+mn-lt"/>
              </a:defRPr>
            </a:lvl2pPr>
            <a:lvl3pPr marL="658800" indent="-212400" algn="l" rtl="0" eaLnBrk="1" fontAlgn="base" hangingPunct="1">
              <a:lnSpc>
                <a:spcPct val="100000"/>
              </a:lnSpc>
              <a:spcBef>
                <a:spcPts val="300"/>
              </a:spcBef>
              <a:spcAft>
                <a:spcPts val="0"/>
              </a:spcAft>
              <a:buClr>
                <a:schemeClr val="accent2"/>
              </a:buClr>
              <a:buFont typeface="Arial Black" pitchFamily="34" charset="0"/>
              <a:buChar char="−"/>
              <a:defRPr lang="de-DE" sz="1600" b="0" smtClean="0">
                <a:solidFill>
                  <a:schemeClr val="tx1"/>
                </a:solidFill>
                <a:latin typeface="+mn-lt"/>
              </a:defRPr>
            </a:lvl3pPr>
            <a:lvl4pPr marL="863741"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lang="de-DE" sz="1600" b="0" smtClean="0">
                <a:solidFill>
                  <a:schemeClr val="tx1"/>
                </a:solidFill>
                <a:latin typeface="+mn-lt"/>
              </a:defRPr>
            </a:lvl4pPr>
            <a:lvl5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lang="de-DE" sz="1600" dirty="0">
                <a:solidFill>
                  <a:schemeClr val="tx1"/>
                </a:solidFill>
                <a:latin typeface="+mn-lt"/>
              </a:defRPr>
            </a:lvl5pPr>
            <a:lvl6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6pPr>
            <a:lvl7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7pPr>
            <a:lvl8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8pPr>
            <a:lvl9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9pPr>
          </a:lstStyle>
          <a:p>
            <a:pPr marL="342900" marR="0" lvl="0" indent="-342900" algn="just" defTabSz="914400" rtl="0" eaLnBrk="1" fontAlgn="base" latinLnBrk="0" hangingPunct="1">
              <a:lnSpc>
                <a:spcPct val="100000"/>
              </a:lnSpc>
              <a:spcBef>
                <a:spcPts val="600"/>
              </a:spcBef>
              <a:spcAft>
                <a:spcPts val="0"/>
              </a:spcAft>
              <a:buClr>
                <a:srgbClr val="005192"/>
              </a:buClr>
              <a:buSzPct val="100000"/>
              <a:buFont typeface="Wingdings 3" pitchFamily="18" charset="2"/>
              <a:buNone/>
              <a:tabLst/>
              <a:defRPr/>
            </a:pPr>
            <a:r>
              <a:rPr kumimoji="0" lang="es-MX" altLang="zh-CN" sz="1800" b="1" i="0" u="none" strike="noStrike" kern="0" cap="none" spc="0" normalizeH="0" baseline="0" noProof="0" dirty="0">
                <a:ln>
                  <a:noFill/>
                </a:ln>
                <a:solidFill>
                  <a:srgbClr val="005192">
                    <a:lumMod val="60000"/>
                    <a:lumOff val="40000"/>
                  </a:srgbClr>
                </a:solidFill>
                <a:effectLst/>
                <a:uLnTx/>
                <a:uFillTx/>
                <a:ea typeface="+mn-ea"/>
                <a:cs typeface="+mn-cs"/>
              </a:rPr>
              <a:t>Definición:</a:t>
            </a:r>
          </a:p>
          <a:p>
            <a:pPr marL="268288" marR="0" lvl="1" indent="0" algn="just" defTabSz="914400" rtl="0" eaLnBrk="1" fontAlgn="base" latinLnBrk="0" hangingPunct="1">
              <a:lnSpc>
                <a:spcPct val="100000"/>
              </a:lnSpc>
              <a:spcBef>
                <a:spcPts val="300"/>
              </a:spcBef>
              <a:spcAft>
                <a:spcPts val="0"/>
              </a:spcAft>
              <a:buClr>
                <a:srgbClr val="005192"/>
              </a:buClr>
              <a:buSzPct val="100000"/>
              <a:buFont typeface="Arial" panose="020B0604020202020204" pitchFamily="34" charset="0"/>
              <a:buNone/>
              <a:tabLst/>
              <a:defRPr/>
            </a:pPr>
            <a:r>
              <a:rPr kumimoji="0" lang="es-MX" altLang="zh-CN" sz="1800" b="0" i="0" u="none" strike="noStrike" kern="0" cap="none" spc="0" normalizeH="0" baseline="0" noProof="0" dirty="0">
                <a:ln>
                  <a:noFill/>
                </a:ln>
                <a:solidFill>
                  <a:srgbClr val="3E3E3E"/>
                </a:solidFill>
                <a:effectLst/>
                <a:uLnTx/>
                <a:uFillTx/>
                <a:ea typeface="宋体" pitchFamily="2" charset="-122"/>
              </a:rPr>
              <a:t>Es un </a:t>
            </a:r>
            <a:r>
              <a:rPr kumimoji="0" lang="es-MX" altLang="zh-CN" sz="1800" b="0" i="0" u="none" strike="noStrike" kern="0" cap="none" spc="0" normalizeH="0" baseline="0" noProof="0" dirty="0">
                <a:ln>
                  <a:noFill/>
                </a:ln>
                <a:solidFill>
                  <a:srgbClr val="005192">
                    <a:lumMod val="60000"/>
                    <a:lumOff val="40000"/>
                  </a:srgbClr>
                </a:solidFill>
                <a:effectLst/>
                <a:uLnTx/>
                <a:uFillTx/>
                <a:ea typeface="宋体" pitchFamily="2" charset="-122"/>
              </a:rPr>
              <a:t>registro estadístico de las muertes </a:t>
            </a:r>
            <a:r>
              <a:rPr kumimoji="0" lang="es-MX" altLang="zh-CN" sz="1800" b="0" i="0" u="none" strike="noStrike" kern="0" cap="none" spc="0" normalizeH="0" baseline="0" noProof="0" dirty="0">
                <a:ln>
                  <a:noFill/>
                </a:ln>
                <a:solidFill>
                  <a:srgbClr val="3E3E3E"/>
                </a:solidFill>
                <a:effectLst/>
                <a:uLnTx/>
                <a:uFillTx/>
                <a:ea typeface="宋体" pitchFamily="2" charset="-122"/>
              </a:rPr>
              <a:t>ocurridas en el pasado durante un periodo de tiempo específico y en cierta población.</a:t>
            </a:r>
            <a:endParaRPr kumimoji="0" lang="es-MX" altLang="zh-CN" b="0" i="0" u="none" strike="noStrike" kern="0" cap="none" spc="0" normalizeH="0" baseline="0" noProof="0" dirty="0">
              <a:ln>
                <a:noFill/>
              </a:ln>
              <a:solidFill>
                <a:srgbClr val="3E3E3E"/>
              </a:solidFill>
              <a:effectLst/>
              <a:uLnTx/>
              <a:uFillTx/>
              <a:ea typeface="宋体" pitchFamily="2" charset="-122"/>
            </a:endParaRPr>
          </a:p>
        </p:txBody>
      </p:sp>
      <p:pic>
        <p:nvPicPr>
          <p:cNvPr id="8" name="Picture 2">
            <a:extLst>
              <a:ext uri="{FF2B5EF4-FFF2-40B4-BE49-F238E27FC236}">
                <a16:creationId xmlns:a16="http://schemas.microsoft.com/office/drawing/2014/main" id="{09B5E100-C7C8-C29D-838A-2F28FE10C8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441" y="1717334"/>
            <a:ext cx="4286286" cy="2878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8FFF77CB-D399-29D2-6091-6A748DBFD4E7}"/>
                  </a:ext>
                </a:extLst>
              </p:cNvPr>
              <p:cNvSpPr txBox="1"/>
              <p:nvPr/>
            </p:nvSpPr>
            <p:spPr>
              <a:xfrm>
                <a:off x="2991518" y="3156389"/>
                <a:ext cx="1580708" cy="1122381"/>
              </a:xfrm>
              <a:prstGeom prst="rect">
                <a:avLst/>
              </a:prstGeom>
              <a:noFill/>
            </p:spPr>
            <p:txBody>
              <a:bodyPr wrap="none" lIns="0" tIns="0" rIns="0" bIns="0" rtlCol="0">
                <a:noAutofit/>
              </a:bodyPr>
              <a:lstStyle/>
              <a:p>
                <a:pPr algn="l"/>
                <a14:m>
                  <m:oMathPara xmlns:m="http://schemas.openxmlformats.org/officeDocument/2006/math">
                    <m:oMathParaPr>
                      <m:jc m:val="centerGroup"/>
                    </m:oMathParaPr>
                    <m:oMath xmlns:m="http://schemas.openxmlformats.org/officeDocument/2006/math">
                      <m:sSub>
                        <m:sSubPr>
                          <m:ctrlPr>
                            <a:rPr lang="en-GB" sz="6600" i="1" smtClean="0">
                              <a:latin typeface="Cambria Math" panose="02040503050406030204" pitchFamily="18" charset="0"/>
                            </a:rPr>
                          </m:ctrlPr>
                        </m:sSubPr>
                        <m:e>
                          <m:r>
                            <a:rPr lang="es-MX" sz="6600" b="1" i="1" smtClean="0">
                              <a:latin typeface="Cambria Math" panose="02040503050406030204" pitchFamily="18" charset="0"/>
                            </a:rPr>
                            <m:t>𝒒</m:t>
                          </m:r>
                        </m:e>
                        <m:sub>
                          <m:r>
                            <a:rPr lang="es-MX" sz="6600" b="1" i="1" smtClean="0">
                              <a:latin typeface="Cambria Math" panose="02040503050406030204" pitchFamily="18" charset="0"/>
                            </a:rPr>
                            <m:t>𝒙</m:t>
                          </m:r>
                        </m:sub>
                      </m:sSub>
                    </m:oMath>
                  </m:oMathPara>
                </a14:m>
                <a:endParaRPr lang="en-GB" sz="6600" dirty="0"/>
              </a:p>
            </p:txBody>
          </p:sp>
        </mc:Choice>
        <mc:Fallback xmlns="">
          <p:sp>
            <p:nvSpPr>
              <p:cNvPr id="12" name="TextBox 11">
                <a:extLst>
                  <a:ext uri="{FF2B5EF4-FFF2-40B4-BE49-F238E27FC236}">
                    <a16:creationId xmlns:a16="http://schemas.microsoft.com/office/drawing/2014/main" id="{8FFF77CB-D399-29D2-6091-6A748DBFD4E7}"/>
                  </a:ext>
                </a:extLst>
              </p:cNvPr>
              <p:cNvSpPr txBox="1">
                <a:spLocks noRot="1" noChangeAspect="1" noMove="1" noResize="1" noEditPoints="1" noAdjustHandles="1" noChangeArrowheads="1" noChangeShapeType="1" noTextEdit="1"/>
              </p:cNvSpPr>
              <p:nvPr/>
            </p:nvSpPr>
            <p:spPr>
              <a:xfrm>
                <a:off x="2991518" y="3156389"/>
                <a:ext cx="1580708" cy="1122381"/>
              </a:xfrm>
              <a:prstGeom prst="rect">
                <a:avLst/>
              </a:prstGeom>
              <a:blipFill>
                <a:blip r:embed="rId4"/>
                <a:stretch>
                  <a:fillRect/>
                </a:stretch>
              </a:blipFill>
            </p:spPr>
            <p:txBody>
              <a:bodyPr/>
              <a:lstStyle/>
              <a:p>
                <a:r>
                  <a:rPr lang="en-GB">
                    <a:noFill/>
                  </a:rPr>
                  <a:t> </a:t>
                </a:r>
              </a:p>
            </p:txBody>
          </p:sp>
        </mc:Fallback>
      </mc:AlternateContent>
      <p:sp>
        <p:nvSpPr>
          <p:cNvPr id="13" name="TextBox 12">
            <a:extLst>
              <a:ext uri="{FF2B5EF4-FFF2-40B4-BE49-F238E27FC236}">
                <a16:creationId xmlns:a16="http://schemas.microsoft.com/office/drawing/2014/main" id="{FC4B9B85-99AC-AD01-6091-6FF54C540833}"/>
              </a:ext>
            </a:extLst>
          </p:cNvPr>
          <p:cNvSpPr txBox="1"/>
          <p:nvPr/>
        </p:nvSpPr>
        <p:spPr>
          <a:xfrm>
            <a:off x="3037247" y="3798003"/>
            <a:ext cx="305943" cy="707809"/>
          </a:xfrm>
          <a:prstGeom prst="rect">
            <a:avLst/>
          </a:prstGeom>
          <a:noFill/>
        </p:spPr>
        <p:txBody>
          <a:bodyPr wrap="square" lIns="0" tIns="0" rIns="0" bIns="0" rtlCol="0">
            <a:noAutofit/>
          </a:bodyPr>
          <a:lstStyle/>
          <a:p>
            <a:pPr algn="l"/>
            <a:r>
              <a:rPr lang="en-GB" sz="3200" dirty="0"/>
              <a:t>n</a:t>
            </a:r>
            <a:endParaRPr lang="en-GB" dirty="0"/>
          </a:p>
        </p:txBody>
      </p:sp>
    </p:spTree>
    <p:extLst>
      <p:ext uri="{BB962C8B-B14F-4D97-AF65-F5344CB8AC3E}">
        <p14:creationId xmlns:p14="http://schemas.microsoft.com/office/powerpoint/2010/main" val="685319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A638A-9770-D2C6-2B4A-C9C28039C8EF}"/>
              </a:ext>
            </a:extLst>
          </p:cNvPr>
          <p:cNvSpPr>
            <a:spLocks noGrp="1"/>
          </p:cNvSpPr>
          <p:nvPr>
            <p:ph type="title"/>
          </p:nvPr>
        </p:nvSpPr>
        <p:spPr>
          <a:xfrm>
            <a:off x="287336" y="477339"/>
            <a:ext cx="11615737" cy="612000"/>
          </a:xfrm>
        </p:spPr>
        <p:txBody>
          <a:bodyPr/>
          <a:lstStyle/>
          <a:p>
            <a:r>
              <a:rPr lang="en-GB" sz="2800" b="1" dirty="0" err="1"/>
              <a:t>Distribución</a:t>
            </a:r>
            <a:r>
              <a:rPr lang="en-GB" sz="2800" b="1" dirty="0"/>
              <a:t> de </a:t>
            </a:r>
            <a:r>
              <a:rPr lang="en-GB" sz="2800" b="1" dirty="0" err="1"/>
              <a:t>Mortalidad</a:t>
            </a:r>
            <a:endParaRPr lang="en-GB" sz="2800" b="1" dirty="0"/>
          </a:p>
        </p:txBody>
      </p:sp>
      <p:pic>
        <p:nvPicPr>
          <p:cNvPr id="5" name="Picture 4">
            <a:extLst>
              <a:ext uri="{FF2B5EF4-FFF2-40B4-BE49-F238E27FC236}">
                <a16:creationId xmlns:a16="http://schemas.microsoft.com/office/drawing/2014/main" id="{E52D37B2-C6A3-BD94-835A-7CB20FD05B1D}"/>
              </a:ext>
            </a:extLst>
          </p:cNvPr>
          <p:cNvPicPr>
            <a:picLocks noChangeAspect="1"/>
          </p:cNvPicPr>
          <p:nvPr/>
        </p:nvPicPr>
        <p:blipFill>
          <a:blip r:embed="rId2"/>
          <a:stretch>
            <a:fillRect/>
          </a:stretch>
        </p:blipFill>
        <p:spPr>
          <a:xfrm>
            <a:off x="2242499" y="1662420"/>
            <a:ext cx="7705409" cy="4621287"/>
          </a:xfrm>
          <a:prstGeom prst="rect">
            <a:avLst/>
          </a:prstGeom>
        </p:spPr>
      </p:pic>
      <p:sp>
        <p:nvSpPr>
          <p:cNvPr id="6" name="Arrow: Down 5">
            <a:extLst>
              <a:ext uri="{FF2B5EF4-FFF2-40B4-BE49-F238E27FC236}">
                <a16:creationId xmlns:a16="http://schemas.microsoft.com/office/drawing/2014/main" id="{7DD89CFA-A50D-9A50-8939-828021794CAC}"/>
              </a:ext>
            </a:extLst>
          </p:cNvPr>
          <p:cNvSpPr/>
          <p:nvPr/>
        </p:nvSpPr>
        <p:spPr>
          <a:xfrm>
            <a:off x="4730878" y="963849"/>
            <a:ext cx="312866" cy="698571"/>
          </a:xfrm>
          <a:prstGeom prst="downArrow">
            <a:avLst/>
          </a:prstGeom>
          <a:solidFill>
            <a:srgbClr val="CE4169"/>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2000" dirty="0">
              <a:solidFill>
                <a:schemeClr val="bg1"/>
              </a:solidFill>
            </a:endParaRPr>
          </a:p>
        </p:txBody>
      </p:sp>
      <p:sp>
        <p:nvSpPr>
          <p:cNvPr id="7" name="Arrow: Down 6">
            <a:extLst>
              <a:ext uri="{FF2B5EF4-FFF2-40B4-BE49-F238E27FC236}">
                <a16:creationId xmlns:a16="http://schemas.microsoft.com/office/drawing/2014/main" id="{B5F05082-B4F4-F9A1-AD6E-781D4EF4F852}"/>
              </a:ext>
            </a:extLst>
          </p:cNvPr>
          <p:cNvSpPr/>
          <p:nvPr/>
        </p:nvSpPr>
        <p:spPr>
          <a:xfrm>
            <a:off x="6361814" y="3623777"/>
            <a:ext cx="312866" cy="698571"/>
          </a:xfrm>
          <a:prstGeom prst="downArrow">
            <a:avLst/>
          </a:prstGeom>
          <a:solidFill>
            <a:srgbClr val="CE4169"/>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2000" dirty="0">
              <a:solidFill>
                <a:schemeClr val="bg1"/>
              </a:solidFill>
            </a:endParaRPr>
          </a:p>
        </p:txBody>
      </p:sp>
      <p:sp>
        <p:nvSpPr>
          <p:cNvPr id="9" name="Arrow: Right 8">
            <a:extLst>
              <a:ext uri="{FF2B5EF4-FFF2-40B4-BE49-F238E27FC236}">
                <a16:creationId xmlns:a16="http://schemas.microsoft.com/office/drawing/2014/main" id="{332B01F0-7CC1-6908-9C0A-8B9CD642C561}"/>
              </a:ext>
            </a:extLst>
          </p:cNvPr>
          <p:cNvSpPr/>
          <p:nvPr/>
        </p:nvSpPr>
        <p:spPr>
          <a:xfrm>
            <a:off x="8534400" y="6283707"/>
            <a:ext cx="1229710" cy="211686"/>
          </a:xfrm>
          <a:prstGeom prst="rightArrow">
            <a:avLst/>
          </a:prstGeom>
          <a:solidFill>
            <a:srgbClr val="CE4169"/>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2000" dirty="0">
              <a:solidFill>
                <a:schemeClr val="bg1"/>
              </a:solidFill>
            </a:endParaRPr>
          </a:p>
        </p:txBody>
      </p:sp>
      <p:sp>
        <p:nvSpPr>
          <p:cNvPr id="10" name="Arrow: Right 9">
            <a:extLst>
              <a:ext uri="{FF2B5EF4-FFF2-40B4-BE49-F238E27FC236}">
                <a16:creationId xmlns:a16="http://schemas.microsoft.com/office/drawing/2014/main" id="{B231807C-F177-82D0-E262-5893C1CBC5BC}"/>
              </a:ext>
            </a:extLst>
          </p:cNvPr>
          <p:cNvSpPr/>
          <p:nvPr/>
        </p:nvSpPr>
        <p:spPr>
          <a:xfrm rot="10800000">
            <a:off x="3657601" y="6274818"/>
            <a:ext cx="1229710" cy="211686"/>
          </a:xfrm>
          <a:prstGeom prst="rightArrow">
            <a:avLst/>
          </a:prstGeom>
          <a:solidFill>
            <a:srgbClr val="CE4169"/>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2000" dirty="0">
              <a:solidFill>
                <a:schemeClr val="bg1"/>
              </a:solidFill>
            </a:endParaRPr>
          </a:p>
        </p:txBody>
      </p:sp>
    </p:spTree>
    <p:extLst>
      <p:ext uri="{BB962C8B-B14F-4D97-AF65-F5344CB8AC3E}">
        <p14:creationId xmlns:p14="http://schemas.microsoft.com/office/powerpoint/2010/main" val="2186398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415CD-7641-E169-854C-ECB85C7C2A71}"/>
              </a:ext>
            </a:extLst>
          </p:cNvPr>
          <p:cNvSpPr>
            <a:spLocks noGrp="1"/>
          </p:cNvSpPr>
          <p:nvPr>
            <p:ph type="title"/>
          </p:nvPr>
        </p:nvSpPr>
        <p:spPr/>
        <p:txBody>
          <a:bodyPr/>
          <a:lstStyle/>
          <a:p>
            <a:br>
              <a:rPr lang="en-GB" b="1" dirty="0"/>
            </a:br>
            <a:r>
              <a:rPr lang="en-GB" b="1" dirty="0" err="1"/>
              <a:t>Distribución</a:t>
            </a:r>
            <a:r>
              <a:rPr lang="en-GB" b="1" dirty="0"/>
              <a:t> de </a:t>
            </a:r>
            <a:r>
              <a:rPr lang="en-GB" b="1" dirty="0" err="1"/>
              <a:t>Mortalidad</a:t>
            </a:r>
            <a:endParaRPr lang="en-GB" dirty="0"/>
          </a:p>
        </p:txBody>
      </p:sp>
      <p:pic>
        <p:nvPicPr>
          <p:cNvPr id="5" name="Picture 4">
            <a:extLst>
              <a:ext uri="{FF2B5EF4-FFF2-40B4-BE49-F238E27FC236}">
                <a16:creationId xmlns:a16="http://schemas.microsoft.com/office/drawing/2014/main" id="{20EC8E5C-5B4D-17A8-49EA-3A1EBF733CCB}"/>
              </a:ext>
            </a:extLst>
          </p:cNvPr>
          <p:cNvPicPr>
            <a:picLocks noChangeAspect="1"/>
          </p:cNvPicPr>
          <p:nvPr/>
        </p:nvPicPr>
        <p:blipFill>
          <a:blip r:embed="rId2"/>
          <a:stretch>
            <a:fillRect/>
          </a:stretch>
        </p:blipFill>
        <p:spPr>
          <a:xfrm>
            <a:off x="2005046" y="1530896"/>
            <a:ext cx="7728501" cy="4599594"/>
          </a:xfrm>
          <a:prstGeom prst="rect">
            <a:avLst/>
          </a:prstGeom>
        </p:spPr>
      </p:pic>
    </p:spTree>
    <p:extLst>
      <p:ext uri="{BB962C8B-B14F-4D97-AF65-F5344CB8AC3E}">
        <p14:creationId xmlns:p14="http://schemas.microsoft.com/office/powerpoint/2010/main" val="3883401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EC3CB-64E1-C7D5-D248-EA85BCB8B3D3}"/>
              </a:ext>
            </a:extLst>
          </p:cNvPr>
          <p:cNvSpPr>
            <a:spLocks noGrp="1"/>
          </p:cNvSpPr>
          <p:nvPr>
            <p:ph type="title"/>
          </p:nvPr>
        </p:nvSpPr>
        <p:spPr>
          <a:xfrm>
            <a:off x="287336" y="52523"/>
            <a:ext cx="11615737" cy="612000"/>
          </a:xfrm>
        </p:spPr>
        <p:txBody>
          <a:bodyPr/>
          <a:lstStyle/>
          <a:p>
            <a:br>
              <a:rPr lang="en-GB" sz="2800" b="1" dirty="0"/>
            </a:br>
            <a:r>
              <a:rPr lang="en-GB" sz="2800" b="1" dirty="0"/>
              <a:t>¿A </a:t>
            </a:r>
            <a:r>
              <a:rPr lang="en-GB" sz="2800" b="1" dirty="0" err="1"/>
              <a:t>corto</a:t>
            </a:r>
            <a:r>
              <a:rPr lang="en-GB" sz="2800" b="1" dirty="0"/>
              <a:t> o largo </a:t>
            </a:r>
            <a:r>
              <a:rPr lang="en-GB" sz="2800" b="1" dirty="0" err="1"/>
              <a:t>plazo</a:t>
            </a:r>
            <a:r>
              <a:rPr lang="en-GB" sz="2800" b="1" dirty="0"/>
              <a:t>?</a:t>
            </a:r>
          </a:p>
        </p:txBody>
      </p:sp>
      <p:sp>
        <p:nvSpPr>
          <p:cNvPr id="3" name="Picture Placeholder 2">
            <a:extLst>
              <a:ext uri="{FF2B5EF4-FFF2-40B4-BE49-F238E27FC236}">
                <a16:creationId xmlns:a16="http://schemas.microsoft.com/office/drawing/2014/main" id="{8C374111-B3A2-566E-9FBC-052593F35707}"/>
              </a:ext>
            </a:extLst>
          </p:cNvPr>
          <p:cNvSpPr>
            <a:spLocks noGrp="1"/>
          </p:cNvSpPr>
          <p:nvPr>
            <p:ph type="pic" sz="quarter" idx="22"/>
          </p:nvPr>
        </p:nvSpPr>
        <p:spPr/>
        <p:txBody>
          <a:bodyPr/>
          <a:lstStyle/>
          <a:p>
            <a:endParaRPr lang="en-GB"/>
          </a:p>
        </p:txBody>
      </p:sp>
      <p:sp>
        <p:nvSpPr>
          <p:cNvPr id="4" name="Text Placeholder 7">
            <a:extLst>
              <a:ext uri="{FF2B5EF4-FFF2-40B4-BE49-F238E27FC236}">
                <a16:creationId xmlns:a16="http://schemas.microsoft.com/office/drawing/2014/main" id="{DC567399-D970-D707-7FB2-4D68C274BAC2}"/>
              </a:ext>
            </a:extLst>
          </p:cNvPr>
          <p:cNvSpPr txBox="1">
            <a:spLocks/>
          </p:cNvSpPr>
          <p:nvPr/>
        </p:nvSpPr>
        <p:spPr>
          <a:xfrm>
            <a:off x="338049" y="1469930"/>
            <a:ext cx="5613526" cy="482329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r>
              <a:rPr lang="en-GB" sz="3600" dirty="0">
                <a:solidFill>
                  <a:schemeClr val="accent2"/>
                </a:solidFill>
              </a:rPr>
              <a:t>             Corto </a:t>
            </a:r>
            <a:r>
              <a:rPr lang="en-GB" sz="3600" dirty="0" err="1">
                <a:solidFill>
                  <a:schemeClr val="accent2"/>
                </a:solidFill>
              </a:rPr>
              <a:t>Plazo</a:t>
            </a:r>
            <a:endParaRPr lang="en-GB" sz="3600" dirty="0">
              <a:solidFill>
                <a:schemeClr val="accent2"/>
              </a:solidFill>
            </a:endParaRPr>
          </a:p>
          <a:p>
            <a:pPr algn="ctr"/>
            <a:endParaRPr lang="en-GB" sz="3600" dirty="0">
              <a:solidFill>
                <a:schemeClr val="accent2"/>
              </a:solidFill>
            </a:endParaRPr>
          </a:p>
          <a:p>
            <a:pPr lvl="3"/>
            <a:r>
              <a:rPr lang="en-GB" dirty="0" err="1"/>
              <a:t>Temporalidad</a:t>
            </a:r>
            <a:r>
              <a:rPr lang="en-GB" dirty="0"/>
              <a:t> </a:t>
            </a:r>
            <a:r>
              <a:rPr lang="en-GB" dirty="0" err="1"/>
              <a:t>menor</a:t>
            </a:r>
            <a:r>
              <a:rPr lang="en-GB" dirty="0"/>
              <a:t> o </a:t>
            </a:r>
            <a:r>
              <a:rPr lang="en-GB" dirty="0" err="1"/>
              <a:t>igual</a:t>
            </a:r>
            <a:r>
              <a:rPr lang="en-GB" dirty="0"/>
              <a:t> a un </a:t>
            </a:r>
            <a:r>
              <a:rPr lang="en-GB" dirty="0" err="1"/>
              <a:t>año</a:t>
            </a:r>
            <a:r>
              <a:rPr lang="en-GB" dirty="0"/>
              <a:t>.</a:t>
            </a:r>
          </a:p>
          <a:p>
            <a:pPr lvl="3"/>
            <a:r>
              <a:rPr lang="en-GB" dirty="0" err="1"/>
              <a:t>Reevaluación</a:t>
            </a:r>
            <a:r>
              <a:rPr lang="en-GB" dirty="0"/>
              <a:t> de </a:t>
            </a:r>
            <a:r>
              <a:rPr lang="en-GB" dirty="0" err="1"/>
              <a:t>primas</a:t>
            </a:r>
            <a:r>
              <a:rPr lang="en-GB" dirty="0"/>
              <a:t> </a:t>
            </a:r>
            <a:r>
              <a:rPr lang="en-GB" dirty="0" err="1"/>
              <a:t>anual</a:t>
            </a:r>
            <a:r>
              <a:rPr lang="en-GB" dirty="0"/>
              <a:t>.</a:t>
            </a:r>
          </a:p>
          <a:p>
            <a:pPr lvl="3"/>
            <a:r>
              <a:rPr lang="en-GB" dirty="0"/>
              <a:t>Costo de Capital Menor + </a:t>
            </a:r>
            <a:r>
              <a:rPr lang="en-GB" dirty="0" err="1"/>
              <a:t>Reserva</a:t>
            </a:r>
            <a:r>
              <a:rPr lang="en-GB" dirty="0"/>
              <a:t>	</a:t>
            </a:r>
          </a:p>
          <a:p>
            <a:endParaRPr lang="en-GB" dirty="0"/>
          </a:p>
        </p:txBody>
      </p:sp>
      <p:sp>
        <p:nvSpPr>
          <p:cNvPr id="5" name="Text Placeholder 5">
            <a:extLst>
              <a:ext uri="{FF2B5EF4-FFF2-40B4-BE49-F238E27FC236}">
                <a16:creationId xmlns:a16="http://schemas.microsoft.com/office/drawing/2014/main" id="{F87429A2-39ED-D063-398E-E46EC32721DD}"/>
              </a:ext>
            </a:extLst>
          </p:cNvPr>
          <p:cNvSpPr txBox="1">
            <a:spLocks/>
          </p:cNvSpPr>
          <p:nvPr/>
        </p:nvSpPr>
        <p:spPr>
          <a:xfrm>
            <a:off x="6240425" y="1414136"/>
            <a:ext cx="5613526" cy="482329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algn="ctr"/>
            <a:r>
              <a:rPr lang="en-GB" sz="3600">
                <a:solidFill>
                  <a:schemeClr val="accent2"/>
                </a:solidFill>
              </a:rPr>
              <a:t>Largo Plazo</a:t>
            </a:r>
          </a:p>
          <a:p>
            <a:pPr algn="ctr"/>
            <a:endParaRPr lang="en-GB" sz="3600">
              <a:solidFill>
                <a:schemeClr val="accent2"/>
              </a:solidFill>
            </a:endParaRPr>
          </a:p>
          <a:p>
            <a:pPr lvl="3"/>
            <a:r>
              <a:rPr lang="en-GB"/>
              <a:t>Prima se mantiene por lo general.</a:t>
            </a:r>
          </a:p>
          <a:p>
            <a:pPr lvl="3"/>
            <a:r>
              <a:rPr lang="en-GB"/>
              <a:t>Temporales, dotales, superviviencia, etc..</a:t>
            </a:r>
          </a:p>
          <a:p>
            <a:pPr lvl="3"/>
            <a:r>
              <a:rPr lang="en-GB"/>
              <a:t>Constitución de reservas</a:t>
            </a:r>
          </a:p>
          <a:p>
            <a:pPr lvl="3"/>
            <a:r>
              <a:rPr lang="en-GB"/>
              <a:t>Punto de equilibrio después de varios años.</a:t>
            </a:r>
            <a:endParaRPr lang="en-GB" dirty="0"/>
          </a:p>
        </p:txBody>
      </p:sp>
      <p:pic>
        <p:nvPicPr>
          <p:cNvPr id="6" name="Picture 2" descr="Vs Logo Images – Browse 1,475,531 Stock Photos, Vectors, and ...">
            <a:extLst>
              <a:ext uri="{FF2B5EF4-FFF2-40B4-BE49-F238E27FC236}">
                <a16:creationId xmlns:a16="http://schemas.microsoft.com/office/drawing/2014/main" id="{78742D2E-72D2-869D-8639-7D6358988D5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37001" y="620569"/>
            <a:ext cx="2486053" cy="247916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urves of life insurance reserves when value of parameter m and is... |  Download Scientific Diagram">
            <a:extLst>
              <a:ext uri="{FF2B5EF4-FFF2-40B4-BE49-F238E27FC236}">
                <a16:creationId xmlns:a16="http://schemas.microsoft.com/office/drawing/2014/main" id="{04C4E1D8-9028-C129-1D53-756BA7B111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1066" y="4152291"/>
            <a:ext cx="3797922" cy="2583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109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4CA59-A53A-B63C-8C74-373225C325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AF2CF0-C81B-6F59-A980-A41152613222}"/>
              </a:ext>
            </a:extLst>
          </p:cNvPr>
          <p:cNvSpPr>
            <a:spLocks noGrp="1"/>
          </p:cNvSpPr>
          <p:nvPr>
            <p:ph type="title"/>
          </p:nvPr>
        </p:nvSpPr>
        <p:spPr>
          <a:xfrm>
            <a:off x="288131" y="18303"/>
            <a:ext cx="11615737" cy="612000"/>
          </a:xfrm>
        </p:spPr>
        <p:txBody>
          <a:bodyPr/>
          <a:lstStyle/>
          <a:p>
            <a:br>
              <a:rPr lang="en-GB" sz="2800" b="1" dirty="0"/>
            </a:br>
            <a:r>
              <a:rPr lang="en-GB" sz="2800" b="1" dirty="0"/>
              <a:t>¿A </a:t>
            </a:r>
            <a:r>
              <a:rPr lang="en-GB" sz="2800" b="1" dirty="0" err="1"/>
              <a:t>corto</a:t>
            </a:r>
            <a:r>
              <a:rPr lang="en-GB" sz="2800" b="1" dirty="0"/>
              <a:t> o largo </a:t>
            </a:r>
            <a:r>
              <a:rPr lang="en-GB" sz="2800" b="1" dirty="0" err="1"/>
              <a:t>plazo</a:t>
            </a:r>
            <a:r>
              <a:rPr lang="en-GB" sz="2800" b="1" dirty="0"/>
              <a:t>?</a:t>
            </a:r>
          </a:p>
        </p:txBody>
      </p:sp>
      <p:sp>
        <p:nvSpPr>
          <p:cNvPr id="4" name="Text Placeholder 7">
            <a:extLst>
              <a:ext uri="{FF2B5EF4-FFF2-40B4-BE49-F238E27FC236}">
                <a16:creationId xmlns:a16="http://schemas.microsoft.com/office/drawing/2014/main" id="{BB935D17-B3A9-C8C4-F46F-8B755EA42A92}"/>
              </a:ext>
            </a:extLst>
          </p:cNvPr>
          <p:cNvSpPr txBox="1">
            <a:spLocks/>
          </p:cNvSpPr>
          <p:nvPr/>
        </p:nvSpPr>
        <p:spPr>
          <a:xfrm>
            <a:off x="338049" y="1469930"/>
            <a:ext cx="5613526" cy="482329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r>
              <a:rPr lang="en-GB" sz="3600" dirty="0">
                <a:solidFill>
                  <a:schemeClr val="accent2"/>
                </a:solidFill>
              </a:rPr>
              <a:t>             Corto </a:t>
            </a:r>
            <a:r>
              <a:rPr lang="en-GB" sz="3600" dirty="0" err="1">
                <a:solidFill>
                  <a:schemeClr val="accent2"/>
                </a:solidFill>
              </a:rPr>
              <a:t>Plazo</a:t>
            </a:r>
            <a:endParaRPr lang="en-GB" sz="3600" dirty="0">
              <a:solidFill>
                <a:schemeClr val="accent2"/>
              </a:solidFill>
            </a:endParaRPr>
          </a:p>
          <a:p>
            <a:endParaRPr lang="en-GB" dirty="0"/>
          </a:p>
        </p:txBody>
      </p:sp>
      <p:sp>
        <p:nvSpPr>
          <p:cNvPr id="5" name="Text Placeholder 5">
            <a:extLst>
              <a:ext uri="{FF2B5EF4-FFF2-40B4-BE49-F238E27FC236}">
                <a16:creationId xmlns:a16="http://schemas.microsoft.com/office/drawing/2014/main" id="{40D61F56-1369-891F-B1AB-4853987F66AB}"/>
              </a:ext>
            </a:extLst>
          </p:cNvPr>
          <p:cNvSpPr txBox="1">
            <a:spLocks/>
          </p:cNvSpPr>
          <p:nvPr/>
        </p:nvSpPr>
        <p:spPr>
          <a:xfrm>
            <a:off x="6240425" y="1414136"/>
            <a:ext cx="5613526" cy="482329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1" kern="1200">
                <a:solidFill>
                  <a:schemeClr val="tx2"/>
                </a:solidFill>
                <a:latin typeface="+mn-lt"/>
                <a:ea typeface="+mn-ea"/>
                <a:cs typeface="+mn-cs"/>
              </a:defRPr>
            </a:lvl1pPr>
            <a:lvl2pPr marL="270000" indent="-270000" algn="l" defTabSz="914400" rtl="0" eaLnBrk="1" latinLnBrk="0" hangingPunct="1">
              <a:lnSpc>
                <a:spcPct val="100000"/>
              </a:lnSpc>
              <a:spcBef>
                <a:spcPts val="0"/>
              </a:spcBef>
              <a:spcAft>
                <a:spcPts val="600"/>
              </a:spcAft>
              <a:buFont typeface="Symbol" panose="05050102010706020507" pitchFamily="18" charset="2"/>
              <a:buChar char="-"/>
              <a:defRPr sz="1400" kern="1200">
                <a:solidFill>
                  <a:schemeClr val="tx2"/>
                </a:solidFill>
                <a:latin typeface="+mn-lt"/>
                <a:ea typeface="+mn-ea"/>
                <a:cs typeface="+mn-cs"/>
              </a:defRPr>
            </a:lvl2pPr>
            <a:lvl3pPr marL="540000" indent="-2700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3pPr>
            <a:lvl4pPr marL="810000" indent="-270000" algn="l" defTabSz="914400" rtl="0" eaLnBrk="1" latinLnBrk="0" hangingPunct="1">
              <a:lnSpc>
                <a:spcPct val="100000"/>
              </a:lnSpc>
              <a:spcBef>
                <a:spcPts val="0"/>
              </a:spcBef>
              <a:spcAft>
                <a:spcPts val="600"/>
              </a:spcAft>
              <a:buFont typeface="Symbol" panose="05050102010706020507" pitchFamily="18" charset="2"/>
              <a:buChar char="-"/>
              <a:defRPr sz="1400" b="0" kern="1200">
                <a:solidFill>
                  <a:schemeClr val="tx2"/>
                </a:solidFill>
                <a:latin typeface="+mn-lt"/>
                <a:ea typeface="+mn-ea"/>
                <a:cs typeface="+mn-cs"/>
              </a:defRPr>
            </a:lvl4pPr>
            <a:lvl5pPr marL="0" indent="0" algn="ctr" defTabSz="914400" rtl="0" eaLnBrk="1" latinLnBrk="0" hangingPunct="1">
              <a:lnSpc>
                <a:spcPct val="100000"/>
              </a:lnSpc>
              <a:spcBef>
                <a:spcPts val="0"/>
              </a:spcBef>
              <a:spcAft>
                <a:spcPts val="600"/>
              </a:spcAft>
              <a:buFont typeface="Symbol" panose="05050102010706020507" pitchFamily="18" charset="2"/>
              <a:buNone/>
              <a:defRPr sz="1400" b="1" kern="1200">
                <a:solidFill>
                  <a:schemeClr val="tx2"/>
                </a:solidFill>
                <a:latin typeface="+mn-lt"/>
                <a:ea typeface="+mn-ea"/>
                <a:cs typeface="+mn-cs"/>
              </a:defRPr>
            </a:lvl5pPr>
            <a:lvl6pPr marL="0" indent="0" algn="ctr" defTabSz="914400" rtl="0" eaLnBrk="1" latinLnBrk="0" hangingPunct="1">
              <a:lnSpc>
                <a:spcPct val="100000"/>
              </a:lnSpc>
              <a:spcBef>
                <a:spcPts val="0"/>
              </a:spcBef>
              <a:spcAft>
                <a:spcPts val="600"/>
              </a:spcAft>
              <a:buFont typeface="Symbol" panose="05050102010706020507" pitchFamily="18" charset="2"/>
              <a:buNone/>
              <a:defRPr sz="2000" b="1" kern="1200">
                <a:solidFill>
                  <a:schemeClr val="tx2"/>
                </a:solidFill>
                <a:latin typeface="+mn-lt"/>
                <a:ea typeface="+mn-ea"/>
                <a:cs typeface="+mn-cs"/>
              </a:defRPr>
            </a:lvl6pPr>
            <a:lvl7pPr marL="0" indent="0" algn="ctr" defTabSz="914400" rtl="0" eaLnBrk="1" latinLnBrk="0" hangingPunct="1">
              <a:lnSpc>
                <a:spcPct val="100000"/>
              </a:lnSpc>
              <a:spcBef>
                <a:spcPts val="0"/>
              </a:spcBef>
              <a:spcAft>
                <a:spcPts val="600"/>
              </a:spcAft>
              <a:buFont typeface="Arial" panose="020B0604020202020204" pitchFamily="34" charset="0"/>
              <a:buNone/>
              <a:defRPr sz="3000" b="0" kern="1200">
                <a:solidFill>
                  <a:schemeClr val="tx2"/>
                </a:solidFill>
                <a:latin typeface="+mn-lt"/>
                <a:ea typeface="+mn-ea"/>
                <a:cs typeface="+mn-cs"/>
              </a:defRPr>
            </a:lvl7pPr>
            <a:lvl8pPr marL="0" indent="0" algn="ctr" defTabSz="914400" rtl="0" eaLnBrk="1" latinLnBrk="0" hangingPunct="1">
              <a:lnSpc>
                <a:spcPct val="100000"/>
              </a:lnSpc>
              <a:spcBef>
                <a:spcPts val="0"/>
              </a:spcBef>
              <a:spcAft>
                <a:spcPts val="600"/>
              </a:spcAft>
              <a:buFont typeface="Symbol" panose="05050102010706020507" pitchFamily="18" charset="2"/>
              <a:buNone/>
              <a:defRPr sz="4800" kern="1200">
                <a:solidFill>
                  <a:schemeClr val="tx2"/>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900" kern="1200">
                <a:solidFill>
                  <a:schemeClr val="tx2"/>
                </a:solidFill>
                <a:latin typeface="+mn-lt"/>
                <a:ea typeface="+mn-ea"/>
                <a:cs typeface="+mn-cs"/>
              </a:defRPr>
            </a:lvl9pPr>
          </a:lstStyle>
          <a:p>
            <a:pPr algn="ctr"/>
            <a:r>
              <a:rPr lang="en-GB" sz="3600" dirty="0">
                <a:solidFill>
                  <a:schemeClr val="accent2"/>
                </a:solidFill>
              </a:rPr>
              <a:t>Largo </a:t>
            </a:r>
            <a:r>
              <a:rPr lang="en-GB" sz="3600" dirty="0" err="1">
                <a:solidFill>
                  <a:schemeClr val="accent2"/>
                </a:solidFill>
              </a:rPr>
              <a:t>Plazo</a:t>
            </a:r>
            <a:endParaRPr lang="en-GB" sz="3600" dirty="0">
              <a:solidFill>
                <a:schemeClr val="accent2"/>
              </a:solidFill>
            </a:endParaRPr>
          </a:p>
        </p:txBody>
      </p:sp>
      <p:pic>
        <p:nvPicPr>
          <p:cNvPr id="6" name="Picture 2" descr="Vs Logo Images – Browse 1,475,531 Stock Photos, Vectors, and ...">
            <a:extLst>
              <a:ext uri="{FF2B5EF4-FFF2-40B4-BE49-F238E27FC236}">
                <a16:creationId xmlns:a16="http://schemas.microsoft.com/office/drawing/2014/main" id="{0AA708BE-CEAA-4869-D169-156D92EB7E0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37001" y="620569"/>
            <a:ext cx="2486053" cy="24791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D82E445-CF81-C61E-8365-60C93552A460}"/>
              </a:ext>
            </a:extLst>
          </p:cNvPr>
          <p:cNvPicPr>
            <a:picLocks noChangeAspect="1"/>
          </p:cNvPicPr>
          <p:nvPr/>
        </p:nvPicPr>
        <p:blipFill>
          <a:blip r:embed="rId3"/>
          <a:stretch>
            <a:fillRect/>
          </a:stretch>
        </p:blipFill>
        <p:spPr>
          <a:xfrm>
            <a:off x="7674535" y="2214328"/>
            <a:ext cx="3383177" cy="1315681"/>
          </a:xfrm>
          <a:prstGeom prst="rect">
            <a:avLst/>
          </a:prstGeom>
        </p:spPr>
      </p:pic>
      <p:pic>
        <p:nvPicPr>
          <p:cNvPr id="12" name="Picture 11">
            <a:extLst>
              <a:ext uri="{FF2B5EF4-FFF2-40B4-BE49-F238E27FC236}">
                <a16:creationId xmlns:a16="http://schemas.microsoft.com/office/drawing/2014/main" id="{43682080-A7B0-F754-12EB-A9E4D96EBFD9}"/>
              </a:ext>
            </a:extLst>
          </p:cNvPr>
          <p:cNvPicPr>
            <a:picLocks noChangeAspect="1"/>
          </p:cNvPicPr>
          <p:nvPr/>
        </p:nvPicPr>
        <p:blipFill>
          <a:blip r:embed="rId4"/>
          <a:stretch>
            <a:fillRect/>
          </a:stretch>
        </p:blipFill>
        <p:spPr>
          <a:xfrm>
            <a:off x="7533060" y="3902148"/>
            <a:ext cx="3524652" cy="881163"/>
          </a:xfrm>
          <a:prstGeom prst="rect">
            <a:avLst/>
          </a:prstGeom>
        </p:spPr>
      </p:pic>
      <p:pic>
        <p:nvPicPr>
          <p:cNvPr id="14" name="Picture 13">
            <a:extLst>
              <a:ext uri="{FF2B5EF4-FFF2-40B4-BE49-F238E27FC236}">
                <a16:creationId xmlns:a16="http://schemas.microsoft.com/office/drawing/2014/main" id="{B0B4C02F-599C-B613-AA58-55DACF9C3F9A}"/>
              </a:ext>
            </a:extLst>
          </p:cNvPr>
          <p:cNvPicPr>
            <a:picLocks noChangeAspect="1"/>
          </p:cNvPicPr>
          <p:nvPr/>
        </p:nvPicPr>
        <p:blipFill>
          <a:blip r:embed="rId5"/>
          <a:stretch>
            <a:fillRect/>
          </a:stretch>
        </p:blipFill>
        <p:spPr>
          <a:xfrm>
            <a:off x="949354" y="2548327"/>
            <a:ext cx="3784216" cy="1391035"/>
          </a:xfrm>
          <a:prstGeom prst="rect">
            <a:avLst/>
          </a:prstGeom>
        </p:spPr>
      </p:pic>
    </p:spTree>
    <p:extLst>
      <p:ext uri="{BB962C8B-B14F-4D97-AF65-F5344CB8AC3E}">
        <p14:creationId xmlns:p14="http://schemas.microsoft.com/office/powerpoint/2010/main" val="138279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CA80D-19AF-31E6-F258-00110D5739C3}"/>
              </a:ext>
            </a:extLst>
          </p:cNvPr>
          <p:cNvSpPr>
            <a:spLocks noGrp="1"/>
          </p:cNvSpPr>
          <p:nvPr>
            <p:ph type="title"/>
          </p:nvPr>
        </p:nvSpPr>
        <p:spPr>
          <a:xfrm>
            <a:off x="287336" y="445441"/>
            <a:ext cx="11615737" cy="612000"/>
          </a:xfrm>
        </p:spPr>
        <p:txBody>
          <a:bodyPr/>
          <a:lstStyle/>
          <a:p>
            <a:r>
              <a:rPr lang="en-GB" sz="3200" b="1" dirty="0" err="1"/>
              <a:t>Reserva</a:t>
            </a:r>
            <a:r>
              <a:rPr lang="en-GB" sz="3200" b="1" dirty="0"/>
              <a:t> </a:t>
            </a:r>
            <a:r>
              <a:rPr lang="en-GB" sz="3200" b="1" dirty="0" err="1"/>
              <a:t>Matemática</a:t>
            </a:r>
            <a:endParaRPr lang="en-GB" sz="3200" b="1" dirty="0"/>
          </a:p>
        </p:txBody>
      </p:sp>
      <p:pic>
        <p:nvPicPr>
          <p:cNvPr id="5" name="Picture 4">
            <a:extLst>
              <a:ext uri="{FF2B5EF4-FFF2-40B4-BE49-F238E27FC236}">
                <a16:creationId xmlns:a16="http://schemas.microsoft.com/office/drawing/2014/main" id="{3E59A273-79F1-7377-57FC-BAA7AAA4BAF1}"/>
              </a:ext>
            </a:extLst>
          </p:cNvPr>
          <p:cNvPicPr>
            <a:picLocks noChangeAspect="1"/>
          </p:cNvPicPr>
          <p:nvPr/>
        </p:nvPicPr>
        <p:blipFill>
          <a:blip r:embed="rId2"/>
          <a:stretch>
            <a:fillRect/>
          </a:stretch>
        </p:blipFill>
        <p:spPr>
          <a:xfrm>
            <a:off x="2341560" y="1528009"/>
            <a:ext cx="7270272" cy="4334554"/>
          </a:xfrm>
          <a:prstGeom prst="rect">
            <a:avLst/>
          </a:prstGeom>
        </p:spPr>
      </p:pic>
    </p:spTree>
    <p:extLst>
      <p:ext uri="{BB962C8B-B14F-4D97-AF65-F5344CB8AC3E}">
        <p14:creationId xmlns:p14="http://schemas.microsoft.com/office/powerpoint/2010/main" val="3936213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9B7E0-A610-E1F3-FB07-3AFA07906171}"/>
              </a:ext>
            </a:extLst>
          </p:cNvPr>
          <p:cNvSpPr>
            <a:spLocks noGrp="1"/>
          </p:cNvSpPr>
          <p:nvPr>
            <p:ph type="title"/>
          </p:nvPr>
        </p:nvSpPr>
        <p:spPr>
          <a:xfrm>
            <a:off x="289463" y="575413"/>
            <a:ext cx="11615737" cy="612000"/>
          </a:xfrm>
        </p:spPr>
        <p:txBody>
          <a:bodyPr/>
          <a:lstStyle/>
          <a:p>
            <a:r>
              <a:rPr lang="en-GB" sz="2800" dirty="0"/>
              <a:t>Prima Tarifa</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E4DB52B-4E08-87B7-801E-F5ECF0C3F106}"/>
                  </a:ext>
                </a:extLst>
              </p:cNvPr>
              <p:cNvSpPr txBox="1"/>
              <p:nvPr/>
            </p:nvSpPr>
            <p:spPr>
              <a:xfrm>
                <a:off x="2770413" y="2552701"/>
                <a:ext cx="2454729" cy="2166256"/>
              </a:xfrm>
              <a:prstGeom prst="rect">
                <a:avLst/>
              </a:prstGeom>
              <a:noFill/>
            </p:spPr>
            <p:txBody>
              <a:bodyPr wrap="none" lIns="0" tIns="0" rIns="0" bIns="0" rtlCol="0">
                <a:noAutofit/>
              </a:bodyPr>
              <a:lstStyle/>
              <a:p>
                <a:pPr algn="l"/>
                <a14:m>
                  <m:oMathPara xmlns:m="http://schemas.openxmlformats.org/officeDocument/2006/math">
                    <m:oMathParaPr>
                      <m:jc m:val="centerGroup"/>
                    </m:oMathParaPr>
                    <m:oMath xmlns:m="http://schemas.openxmlformats.org/officeDocument/2006/math">
                      <m:r>
                        <a:rPr lang="es-MX" sz="3200" b="1" i="1" smtClean="0">
                          <a:latin typeface="Cambria Math" panose="02040503050406030204" pitchFamily="18" charset="0"/>
                        </a:rPr>
                        <m:t>𝑷𝑻</m:t>
                      </m:r>
                      <m:r>
                        <a:rPr lang="es-MX" sz="3200" b="1" i="1" smtClean="0">
                          <a:latin typeface="Cambria Math" panose="02040503050406030204" pitchFamily="18" charset="0"/>
                        </a:rPr>
                        <m:t>= </m:t>
                      </m:r>
                      <m:f>
                        <m:fPr>
                          <m:ctrlPr>
                            <a:rPr lang="es-MX" sz="3200" b="1" i="1" smtClean="0">
                              <a:latin typeface="Cambria Math" panose="02040503050406030204" pitchFamily="18" charset="0"/>
                            </a:rPr>
                          </m:ctrlPr>
                        </m:fPr>
                        <m:num>
                          <m:r>
                            <a:rPr lang="es-MX" sz="3200" b="1" i="1" smtClean="0">
                              <a:latin typeface="Cambria Math" panose="02040503050406030204" pitchFamily="18" charset="0"/>
                            </a:rPr>
                            <m:t>𝑷𝑹</m:t>
                          </m:r>
                        </m:num>
                        <m:den>
                          <m:r>
                            <a:rPr lang="es-MX" sz="3200" b="1" i="1" smtClean="0">
                              <a:latin typeface="Cambria Math" panose="02040503050406030204" pitchFamily="18" charset="0"/>
                            </a:rPr>
                            <m:t>𝟏</m:t>
                          </m:r>
                          <m:r>
                            <a:rPr lang="es-MX" sz="3200" b="1" i="1" smtClean="0">
                              <a:latin typeface="Cambria Math" panose="02040503050406030204" pitchFamily="18" charset="0"/>
                            </a:rPr>
                            <m:t>−</m:t>
                          </m:r>
                          <m:r>
                            <a:rPr lang="es-MX" sz="3200" b="1" i="1" smtClean="0">
                              <a:latin typeface="Cambria Math" panose="02040503050406030204" pitchFamily="18" charset="0"/>
                            </a:rPr>
                            <m:t>𝑮𝒂𝒅</m:t>
                          </m:r>
                          <m:r>
                            <a:rPr lang="es-MX" sz="3200" b="1" i="1" smtClean="0">
                              <a:latin typeface="Cambria Math" panose="02040503050406030204" pitchFamily="18" charset="0"/>
                            </a:rPr>
                            <m:t> −</m:t>
                          </m:r>
                          <m:r>
                            <a:rPr lang="es-MX" sz="3200" b="1" i="1" smtClean="0">
                              <a:latin typeface="Cambria Math" panose="02040503050406030204" pitchFamily="18" charset="0"/>
                            </a:rPr>
                            <m:t>𝑮𝒂𝒐</m:t>
                          </m:r>
                          <m:r>
                            <a:rPr lang="es-MX" sz="3200" b="1" i="1" smtClean="0">
                              <a:latin typeface="Cambria Math" panose="02040503050406030204" pitchFamily="18" charset="0"/>
                            </a:rPr>
                            <m:t> −</m:t>
                          </m:r>
                          <m:r>
                            <a:rPr lang="es-MX" sz="3200" b="1" i="1" smtClean="0">
                              <a:latin typeface="Cambria Math" panose="02040503050406030204" pitchFamily="18" charset="0"/>
                            </a:rPr>
                            <m:t>𝑼𝒕𝒊𝒍𝒊𝒅𝒂𝒅</m:t>
                          </m:r>
                        </m:den>
                      </m:f>
                    </m:oMath>
                  </m:oMathPara>
                </a14:m>
                <a:endParaRPr lang="en-GB" sz="3200" dirty="0"/>
              </a:p>
            </p:txBody>
          </p:sp>
        </mc:Choice>
        <mc:Fallback xmlns="">
          <p:sp>
            <p:nvSpPr>
              <p:cNvPr id="5" name="TextBox 4">
                <a:extLst>
                  <a:ext uri="{FF2B5EF4-FFF2-40B4-BE49-F238E27FC236}">
                    <a16:creationId xmlns:a16="http://schemas.microsoft.com/office/drawing/2014/main" id="{EE4DB52B-4E08-87B7-801E-F5ECF0C3F106}"/>
                  </a:ext>
                </a:extLst>
              </p:cNvPr>
              <p:cNvSpPr txBox="1">
                <a:spLocks noRot="1" noChangeAspect="1" noMove="1" noResize="1" noEditPoints="1" noAdjustHandles="1" noChangeArrowheads="1" noChangeShapeType="1" noTextEdit="1"/>
              </p:cNvSpPr>
              <p:nvPr/>
            </p:nvSpPr>
            <p:spPr>
              <a:xfrm>
                <a:off x="2770413" y="2552701"/>
                <a:ext cx="2454729" cy="2166256"/>
              </a:xfrm>
              <a:prstGeom prst="rect">
                <a:avLst/>
              </a:prstGeom>
              <a:blipFill>
                <a:blip r:embed="rId2"/>
                <a:stretch>
                  <a:fillRect r="-155335"/>
                </a:stretch>
              </a:blipFill>
            </p:spPr>
            <p:txBody>
              <a:bodyPr/>
              <a:lstStyle/>
              <a:p>
                <a:r>
                  <a:rPr lang="en-GB">
                    <a:noFill/>
                  </a:rPr>
                  <a:t> </a:t>
                </a:r>
              </a:p>
            </p:txBody>
          </p:sp>
        </mc:Fallback>
      </mc:AlternateContent>
    </p:spTree>
    <p:extLst>
      <p:ext uri="{BB962C8B-B14F-4D97-AF65-F5344CB8AC3E}">
        <p14:creationId xmlns:p14="http://schemas.microsoft.com/office/powerpoint/2010/main" val="2964099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C664C-D5CD-DF72-BD52-F6AF0B5FA24F}"/>
              </a:ext>
            </a:extLst>
          </p:cNvPr>
          <p:cNvSpPr>
            <a:spLocks noGrp="1"/>
          </p:cNvSpPr>
          <p:nvPr>
            <p:ph type="title"/>
          </p:nvPr>
        </p:nvSpPr>
        <p:spPr>
          <a:xfrm>
            <a:off x="287337" y="424589"/>
            <a:ext cx="11615737" cy="612000"/>
          </a:xfrm>
        </p:spPr>
        <p:txBody>
          <a:bodyPr/>
          <a:lstStyle/>
          <a:p>
            <a:r>
              <a:rPr lang="en-GB" sz="2800" b="1" dirty="0" err="1"/>
              <a:t>Conocerles</a:t>
            </a:r>
            <a:r>
              <a:rPr lang="en-GB" sz="2800" b="1" dirty="0"/>
              <a:t> un poco…</a:t>
            </a:r>
          </a:p>
        </p:txBody>
      </p:sp>
      <p:pic>
        <p:nvPicPr>
          <p:cNvPr id="1030" name="Picture 6" descr="Question Mark Icon PNG vector in SVG, PDF, AI, CDR format">
            <a:extLst>
              <a:ext uri="{FF2B5EF4-FFF2-40B4-BE49-F238E27FC236}">
                <a16:creationId xmlns:a16="http://schemas.microsoft.com/office/drawing/2014/main" id="{19770CE7-7652-0FC2-E42E-51D3556F7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3155" y="1470238"/>
            <a:ext cx="5219347" cy="3917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52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7D46-FFF2-F6D9-9D45-FCA8F6449446}"/>
              </a:ext>
            </a:extLst>
          </p:cNvPr>
          <p:cNvSpPr>
            <a:spLocks noGrp="1"/>
          </p:cNvSpPr>
          <p:nvPr>
            <p:ph type="title"/>
          </p:nvPr>
        </p:nvSpPr>
        <p:spPr>
          <a:xfrm>
            <a:off x="288131" y="451493"/>
            <a:ext cx="11615737" cy="612000"/>
          </a:xfrm>
        </p:spPr>
        <p:txBody>
          <a:bodyPr/>
          <a:lstStyle/>
          <a:p>
            <a:r>
              <a:rPr lang="en-GB" sz="2800" b="1" dirty="0"/>
              <a:t>Coste de </a:t>
            </a:r>
            <a:r>
              <a:rPr lang="en-GB" sz="2800" b="1" dirty="0" err="1"/>
              <a:t>Adquicisión</a:t>
            </a:r>
            <a:endParaRPr lang="en-GB" sz="2800" b="1" dirty="0"/>
          </a:p>
        </p:txBody>
      </p:sp>
      <p:pic>
        <p:nvPicPr>
          <p:cNvPr id="5" name="Content Placeholder 4">
            <a:extLst>
              <a:ext uri="{FF2B5EF4-FFF2-40B4-BE49-F238E27FC236}">
                <a16:creationId xmlns:a16="http://schemas.microsoft.com/office/drawing/2014/main" id="{C7E2828F-EB88-36BB-12B4-2860FC5C3472}"/>
              </a:ext>
            </a:extLst>
          </p:cNvPr>
          <p:cNvPicPr>
            <a:picLocks noGrp="1" noChangeAspect="1"/>
          </p:cNvPicPr>
          <p:nvPr>
            <p:ph sz="quarter" idx="14"/>
          </p:nvPr>
        </p:nvPicPr>
        <p:blipFill>
          <a:blip r:embed="rId2"/>
          <a:stretch>
            <a:fillRect/>
          </a:stretch>
        </p:blipFill>
        <p:spPr>
          <a:xfrm>
            <a:off x="897339" y="1396715"/>
            <a:ext cx="9396274" cy="3017782"/>
          </a:xfrm>
        </p:spPr>
      </p:pic>
      <p:pic>
        <p:nvPicPr>
          <p:cNvPr id="7" name="Picture 6">
            <a:extLst>
              <a:ext uri="{FF2B5EF4-FFF2-40B4-BE49-F238E27FC236}">
                <a16:creationId xmlns:a16="http://schemas.microsoft.com/office/drawing/2014/main" id="{09B858AB-1176-DF46-44EB-37153A99727C}"/>
              </a:ext>
            </a:extLst>
          </p:cNvPr>
          <p:cNvPicPr>
            <a:picLocks noChangeAspect="1"/>
          </p:cNvPicPr>
          <p:nvPr/>
        </p:nvPicPr>
        <p:blipFill>
          <a:blip r:embed="rId3"/>
          <a:stretch>
            <a:fillRect/>
          </a:stretch>
        </p:blipFill>
        <p:spPr>
          <a:xfrm>
            <a:off x="939252" y="4414497"/>
            <a:ext cx="9312447" cy="121931"/>
          </a:xfrm>
          <a:prstGeom prst="rect">
            <a:avLst/>
          </a:prstGeom>
        </p:spPr>
      </p:pic>
      <p:pic>
        <p:nvPicPr>
          <p:cNvPr id="9" name="Picture 8">
            <a:extLst>
              <a:ext uri="{FF2B5EF4-FFF2-40B4-BE49-F238E27FC236}">
                <a16:creationId xmlns:a16="http://schemas.microsoft.com/office/drawing/2014/main" id="{E4352FE2-6E4A-CC9C-5348-E76A4288EAAB}"/>
              </a:ext>
            </a:extLst>
          </p:cNvPr>
          <p:cNvPicPr>
            <a:picLocks noChangeAspect="1"/>
          </p:cNvPicPr>
          <p:nvPr/>
        </p:nvPicPr>
        <p:blipFill>
          <a:blip r:embed="rId4"/>
          <a:stretch>
            <a:fillRect/>
          </a:stretch>
        </p:blipFill>
        <p:spPr>
          <a:xfrm>
            <a:off x="939252" y="4566157"/>
            <a:ext cx="9335309" cy="129551"/>
          </a:xfrm>
          <a:prstGeom prst="rect">
            <a:avLst/>
          </a:prstGeom>
        </p:spPr>
      </p:pic>
      <p:pic>
        <p:nvPicPr>
          <p:cNvPr id="11" name="Picture 10">
            <a:extLst>
              <a:ext uri="{FF2B5EF4-FFF2-40B4-BE49-F238E27FC236}">
                <a16:creationId xmlns:a16="http://schemas.microsoft.com/office/drawing/2014/main" id="{3D977F2A-7C70-0699-82B8-FB40FEE4F89B}"/>
              </a:ext>
            </a:extLst>
          </p:cNvPr>
          <p:cNvPicPr>
            <a:picLocks noChangeAspect="1"/>
          </p:cNvPicPr>
          <p:nvPr/>
        </p:nvPicPr>
        <p:blipFill>
          <a:blip r:embed="rId5"/>
          <a:stretch>
            <a:fillRect/>
          </a:stretch>
        </p:blipFill>
        <p:spPr>
          <a:xfrm>
            <a:off x="950683" y="4747719"/>
            <a:ext cx="9342930" cy="777307"/>
          </a:xfrm>
          <a:prstGeom prst="rect">
            <a:avLst/>
          </a:prstGeom>
        </p:spPr>
      </p:pic>
    </p:spTree>
    <p:extLst>
      <p:ext uri="{BB962C8B-B14F-4D97-AF65-F5344CB8AC3E}">
        <p14:creationId xmlns:p14="http://schemas.microsoft.com/office/powerpoint/2010/main" val="927286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CCE71-7CA7-5B32-3993-6F24265A3E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0B6550-FD86-FA48-3F83-8CC7FA8B4A9E}"/>
              </a:ext>
            </a:extLst>
          </p:cNvPr>
          <p:cNvSpPr>
            <a:spLocks noGrp="1"/>
          </p:cNvSpPr>
          <p:nvPr>
            <p:ph type="title"/>
          </p:nvPr>
        </p:nvSpPr>
        <p:spPr>
          <a:xfrm>
            <a:off x="288131" y="451493"/>
            <a:ext cx="11615737" cy="612000"/>
          </a:xfrm>
        </p:spPr>
        <p:txBody>
          <a:bodyPr/>
          <a:lstStyle/>
          <a:p>
            <a:r>
              <a:rPr lang="en-GB" sz="2800" b="1" dirty="0"/>
              <a:t>Coste de </a:t>
            </a:r>
            <a:r>
              <a:rPr lang="en-GB" sz="2800" b="1" dirty="0" err="1"/>
              <a:t>Adquicisión</a:t>
            </a:r>
            <a:endParaRPr lang="en-GB" sz="2800" b="1" dirty="0"/>
          </a:p>
        </p:txBody>
      </p:sp>
      <p:pic>
        <p:nvPicPr>
          <p:cNvPr id="8" name="Content Placeholder 7">
            <a:extLst>
              <a:ext uri="{FF2B5EF4-FFF2-40B4-BE49-F238E27FC236}">
                <a16:creationId xmlns:a16="http://schemas.microsoft.com/office/drawing/2014/main" id="{C8E152F9-C3D5-B306-68CF-193EFC83E65E}"/>
              </a:ext>
            </a:extLst>
          </p:cNvPr>
          <p:cNvPicPr>
            <a:picLocks noGrp="1" noChangeAspect="1"/>
          </p:cNvPicPr>
          <p:nvPr>
            <p:ph sz="quarter" idx="14"/>
          </p:nvPr>
        </p:nvPicPr>
        <p:blipFill>
          <a:blip r:embed="rId2"/>
          <a:stretch>
            <a:fillRect/>
          </a:stretch>
        </p:blipFill>
        <p:spPr>
          <a:xfrm>
            <a:off x="1363569" y="2302941"/>
            <a:ext cx="9464860" cy="1996613"/>
          </a:xfrm>
        </p:spPr>
      </p:pic>
    </p:spTree>
    <p:extLst>
      <p:ext uri="{BB962C8B-B14F-4D97-AF65-F5344CB8AC3E}">
        <p14:creationId xmlns:p14="http://schemas.microsoft.com/office/powerpoint/2010/main" val="1850177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12044-D173-03E0-546F-894D5EB80031}"/>
              </a:ext>
            </a:extLst>
          </p:cNvPr>
          <p:cNvSpPr>
            <a:spLocks noGrp="1"/>
          </p:cNvSpPr>
          <p:nvPr>
            <p:ph type="title"/>
          </p:nvPr>
        </p:nvSpPr>
        <p:spPr>
          <a:xfrm>
            <a:off x="287337" y="487971"/>
            <a:ext cx="11615737" cy="612000"/>
          </a:xfrm>
        </p:spPr>
        <p:txBody>
          <a:bodyPr/>
          <a:lstStyle/>
          <a:p>
            <a:r>
              <a:rPr lang="en-GB" sz="2800" b="1" dirty="0"/>
              <a:t>Coste </a:t>
            </a:r>
            <a:r>
              <a:rPr lang="en-GB" sz="2800" b="1" dirty="0" err="1"/>
              <a:t>Operativo</a:t>
            </a:r>
            <a:endParaRPr lang="en-GB" sz="2800" b="1" dirty="0"/>
          </a:p>
        </p:txBody>
      </p:sp>
      <p:pic>
        <p:nvPicPr>
          <p:cNvPr id="5" name="Picture 4">
            <a:extLst>
              <a:ext uri="{FF2B5EF4-FFF2-40B4-BE49-F238E27FC236}">
                <a16:creationId xmlns:a16="http://schemas.microsoft.com/office/drawing/2014/main" id="{AE97347F-1F27-8A0D-5AB5-D36B84101FD2}"/>
              </a:ext>
            </a:extLst>
          </p:cNvPr>
          <p:cNvPicPr>
            <a:picLocks noChangeAspect="1"/>
          </p:cNvPicPr>
          <p:nvPr/>
        </p:nvPicPr>
        <p:blipFill>
          <a:blip r:embed="rId2"/>
          <a:stretch>
            <a:fillRect/>
          </a:stretch>
        </p:blipFill>
        <p:spPr>
          <a:xfrm>
            <a:off x="1362775" y="1708074"/>
            <a:ext cx="9464860" cy="3101609"/>
          </a:xfrm>
          <a:prstGeom prst="rect">
            <a:avLst/>
          </a:prstGeom>
        </p:spPr>
      </p:pic>
      <p:pic>
        <p:nvPicPr>
          <p:cNvPr id="7" name="Picture 6">
            <a:extLst>
              <a:ext uri="{FF2B5EF4-FFF2-40B4-BE49-F238E27FC236}">
                <a16:creationId xmlns:a16="http://schemas.microsoft.com/office/drawing/2014/main" id="{DEFA7C0B-20C6-8E7D-AE4F-18E8848F253C}"/>
              </a:ext>
            </a:extLst>
          </p:cNvPr>
          <p:cNvPicPr>
            <a:picLocks noChangeAspect="1"/>
          </p:cNvPicPr>
          <p:nvPr/>
        </p:nvPicPr>
        <p:blipFill>
          <a:blip r:embed="rId3"/>
          <a:stretch>
            <a:fillRect/>
          </a:stretch>
        </p:blipFill>
        <p:spPr>
          <a:xfrm>
            <a:off x="1446602" y="4809683"/>
            <a:ext cx="9381033" cy="175275"/>
          </a:xfrm>
          <a:prstGeom prst="rect">
            <a:avLst/>
          </a:prstGeom>
        </p:spPr>
      </p:pic>
      <p:pic>
        <p:nvPicPr>
          <p:cNvPr id="9" name="Picture 8">
            <a:extLst>
              <a:ext uri="{FF2B5EF4-FFF2-40B4-BE49-F238E27FC236}">
                <a16:creationId xmlns:a16="http://schemas.microsoft.com/office/drawing/2014/main" id="{61261070-FE11-E66B-5C05-40AA51EF1574}"/>
              </a:ext>
            </a:extLst>
          </p:cNvPr>
          <p:cNvPicPr>
            <a:picLocks noChangeAspect="1"/>
          </p:cNvPicPr>
          <p:nvPr/>
        </p:nvPicPr>
        <p:blipFill>
          <a:blip r:embed="rId4"/>
          <a:stretch>
            <a:fillRect/>
          </a:stretch>
        </p:blipFill>
        <p:spPr>
          <a:xfrm>
            <a:off x="1469464" y="5059330"/>
            <a:ext cx="9320068" cy="137172"/>
          </a:xfrm>
          <a:prstGeom prst="rect">
            <a:avLst/>
          </a:prstGeom>
        </p:spPr>
      </p:pic>
      <p:pic>
        <p:nvPicPr>
          <p:cNvPr id="11" name="Picture 10">
            <a:extLst>
              <a:ext uri="{FF2B5EF4-FFF2-40B4-BE49-F238E27FC236}">
                <a16:creationId xmlns:a16="http://schemas.microsoft.com/office/drawing/2014/main" id="{DEDC28B6-A951-EF3C-155D-8EEFFC713111}"/>
              </a:ext>
            </a:extLst>
          </p:cNvPr>
          <p:cNvPicPr>
            <a:picLocks noChangeAspect="1"/>
          </p:cNvPicPr>
          <p:nvPr/>
        </p:nvPicPr>
        <p:blipFill>
          <a:blip r:embed="rId5"/>
          <a:stretch>
            <a:fillRect/>
          </a:stretch>
        </p:blipFill>
        <p:spPr>
          <a:xfrm>
            <a:off x="1435171" y="5303191"/>
            <a:ext cx="9388654" cy="739204"/>
          </a:xfrm>
          <a:prstGeom prst="rect">
            <a:avLst/>
          </a:prstGeom>
        </p:spPr>
      </p:pic>
    </p:spTree>
    <p:extLst>
      <p:ext uri="{BB962C8B-B14F-4D97-AF65-F5344CB8AC3E}">
        <p14:creationId xmlns:p14="http://schemas.microsoft.com/office/powerpoint/2010/main" val="37691434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1F839-7833-8CDF-74F5-55899502678F}"/>
              </a:ext>
            </a:extLst>
          </p:cNvPr>
          <p:cNvSpPr>
            <a:spLocks noGrp="1"/>
          </p:cNvSpPr>
          <p:nvPr>
            <p:ph type="title"/>
          </p:nvPr>
        </p:nvSpPr>
        <p:spPr>
          <a:xfrm>
            <a:off x="288131" y="413544"/>
            <a:ext cx="11615737" cy="612000"/>
          </a:xfrm>
        </p:spPr>
        <p:txBody>
          <a:bodyPr/>
          <a:lstStyle/>
          <a:p>
            <a:r>
              <a:rPr lang="en-GB" sz="2800" b="1" dirty="0" err="1"/>
              <a:t>Proyección</a:t>
            </a:r>
            <a:r>
              <a:rPr lang="en-GB" sz="2800" b="1" dirty="0"/>
              <a:t> de Ventas</a:t>
            </a:r>
          </a:p>
        </p:txBody>
      </p:sp>
      <p:pic>
        <p:nvPicPr>
          <p:cNvPr id="4" name="Picture 6">
            <a:extLst>
              <a:ext uri="{FF2B5EF4-FFF2-40B4-BE49-F238E27FC236}">
                <a16:creationId xmlns:a16="http://schemas.microsoft.com/office/drawing/2014/main" id="{2DB2FC22-FE52-00B8-9660-F0111AF6D5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5354" y="1970716"/>
            <a:ext cx="7456601" cy="3150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3728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9978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ircular Arrow 9"/>
          <p:cNvSpPr/>
          <p:nvPr/>
        </p:nvSpPr>
        <p:spPr>
          <a:xfrm rot="585690">
            <a:off x="4190677" y="2007230"/>
            <a:ext cx="3485525" cy="3355026"/>
          </a:xfrm>
          <a:prstGeom prst="circularArrow">
            <a:avLst>
              <a:gd name="adj1" fmla="val 5689"/>
              <a:gd name="adj2" fmla="val 340510"/>
              <a:gd name="adj3" fmla="val 12519974"/>
              <a:gd name="adj4" fmla="val 18200051"/>
              <a:gd name="adj5" fmla="val 5908"/>
            </a:avLst>
          </a:prstGeom>
          <a:solidFill>
            <a:schemeClr val="bg2">
              <a:lumMod val="90000"/>
            </a:schemeClr>
          </a:solidFill>
          <a:effectLst/>
        </p:spPr>
        <p:style>
          <a:lnRef idx="0">
            <a:schemeClr val="accent1">
              <a:hueOff val="0"/>
              <a:satOff val="0"/>
              <a:lumOff val="0"/>
              <a:alphaOff val="0"/>
            </a:schemeClr>
          </a:lnRef>
          <a:fillRef idx="1">
            <a:schemeClr val="accent1">
              <a:tint val="40000"/>
              <a:hueOff val="0"/>
              <a:satOff val="0"/>
              <a:lumOff val="0"/>
              <a:alphaOff val="0"/>
            </a:schemeClr>
          </a:fillRef>
          <a:effectRef idx="2">
            <a:scrgbClr r="0" g="0" b="0"/>
          </a:effectRef>
          <a:fontRef idx="minor">
            <a:schemeClr val="dk1">
              <a:hueOff val="0"/>
              <a:satOff val="0"/>
              <a:lumOff val="0"/>
              <a:alphaOff val="0"/>
            </a:schemeClr>
          </a:fontRef>
        </p:style>
        <p:txBody>
          <a:bodyPr/>
          <a:lstStyle/>
          <a:p>
            <a:endParaRPr lang="en-GB"/>
          </a:p>
        </p:txBody>
      </p:sp>
      <p:sp>
        <p:nvSpPr>
          <p:cNvPr id="2" name="Title 1"/>
          <p:cNvSpPr>
            <a:spLocks noGrp="1"/>
          </p:cNvSpPr>
          <p:nvPr>
            <p:ph type="title"/>
          </p:nvPr>
        </p:nvSpPr>
        <p:spPr/>
        <p:txBody>
          <a:bodyPr/>
          <a:lstStyle/>
          <a:p>
            <a:r>
              <a:rPr lang="en-US" sz="2400" kern="1200" dirty="0" err="1"/>
              <a:t>Ciclo</a:t>
            </a:r>
            <a:r>
              <a:rPr lang="en-US" sz="2400" kern="1200" dirty="0"/>
              <a:t> de Control Actuarial</a:t>
            </a:r>
            <a:br>
              <a:rPr lang="en-US" sz="2400" kern="1200" dirty="0"/>
            </a:br>
            <a:r>
              <a:rPr lang="en-US" sz="2400" b="0" kern="1200" dirty="0"/>
              <a:t>Resumen</a:t>
            </a:r>
            <a:endParaRPr lang="en-GB" sz="2400" b="0" dirty="0"/>
          </a:p>
        </p:txBody>
      </p:sp>
      <p:sp>
        <p:nvSpPr>
          <p:cNvPr id="3" name="Rectangle 2"/>
          <p:cNvSpPr/>
          <p:nvPr/>
        </p:nvSpPr>
        <p:spPr bwMode="gray">
          <a:xfrm>
            <a:off x="3570445" y="1448596"/>
            <a:ext cx="5049520" cy="477520"/>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lvl="0" algn="ctr" defTabSz="889000">
              <a:lnSpc>
                <a:spcPct val="90000"/>
              </a:lnSpc>
              <a:spcBef>
                <a:spcPct val="0"/>
              </a:spcBef>
              <a:spcAft>
                <a:spcPct val="35000"/>
              </a:spcAft>
            </a:pPr>
            <a:r>
              <a:rPr lang="es-MX" sz="1600" dirty="0">
                <a:solidFill>
                  <a:schemeClr val="bg1"/>
                </a:solidFill>
              </a:rPr>
              <a:t>Entorno comercial y económico general</a:t>
            </a:r>
          </a:p>
        </p:txBody>
      </p:sp>
      <p:sp>
        <p:nvSpPr>
          <p:cNvPr id="4" name="Rectangle 3"/>
          <p:cNvSpPr/>
          <p:nvPr/>
        </p:nvSpPr>
        <p:spPr bwMode="gray">
          <a:xfrm>
            <a:off x="4639366" y="5735310"/>
            <a:ext cx="2707640" cy="477520"/>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889000">
              <a:lnSpc>
                <a:spcPct val="90000"/>
              </a:lnSpc>
              <a:spcBef>
                <a:spcPct val="0"/>
              </a:spcBef>
              <a:spcAft>
                <a:spcPct val="35000"/>
              </a:spcAft>
            </a:pPr>
            <a:r>
              <a:rPr lang="es-MX" sz="1600" dirty="0">
                <a:solidFill>
                  <a:schemeClr val="bg1"/>
                </a:solidFill>
              </a:rPr>
              <a:t>Profesionalización</a:t>
            </a:r>
          </a:p>
        </p:txBody>
      </p:sp>
      <p:sp>
        <p:nvSpPr>
          <p:cNvPr id="5" name="Rectangle 4"/>
          <p:cNvSpPr/>
          <p:nvPr/>
        </p:nvSpPr>
        <p:spPr bwMode="gray">
          <a:xfrm>
            <a:off x="5125834" y="2266736"/>
            <a:ext cx="1615209" cy="562610"/>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lvl="0" algn="ctr"/>
            <a:r>
              <a:rPr lang="es-MX" sz="1600" dirty="0">
                <a:solidFill>
                  <a:schemeClr val="bg1"/>
                </a:solidFill>
              </a:rPr>
              <a:t>Identificar</a:t>
            </a:r>
            <a:endParaRPr lang="en-US" sz="1600" dirty="0">
              <a:solidFill>
                <a:schemeClr val="bg1"/>
              </a:solidFill>
            </a:endParaRPr>
          </a:p>
        </p:txBody>
      </p:sp>
      <p:sp>
        <p:nvSpPr>
          <p:cNvPr id="7" name="Rectangle 6"/>
          <p:cNvSpPr/>
          <p:nvPr/>
        </p:nvSpPr>
        <p:spPr bwMode="gray">
          <a:xfrm>
            <a:off x="6662865" y="4359351"/>
            <a:ext cx="1615209" cy="612000"/>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lvl="0" algn="ctr"/>
            <a:r>
              <a:rPr lang="es-MX" sz="1600" dirty="0">
                <a:solidFill>
                  <a:schemeClr val="bg1"/>
                </a:solidFill>
              </a:rPr>
              <a:t>Desarrollar</a:t>
            </a:r>
            <a:endParaRPr lang="en-US" sz="1600" dirty="0">
              <a:solidFill>
                <a:schemeClr val="bg1"/>
              </a:solidFill>
            </a:endParaRPr>
          </a:p>
        </p:txBody>
      </p:sp>
      <p:sp>
        <p:nvSpPr>
          <p:cNvPr id="8" name="Rectangle 7"/>
          <p:cNvSpPr/>
          <p:nvPr/>
        </p:nvSpPr>
        <p:spPr bwMode="gray">
          <a:xfrm>
            <a:off x="3795335" y="4359351"/>
            <a:ext cx="1635648" cy="612000"/>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lvl="0" algn="ctr"/>
            <a:r>
              <a:rPr lang="es-MX" sz="1600" dirty="0">
                <a:solidFill>
                  <a:schemeClr val="bg1"/>
                </a:solidFill>
              </a:rPr>
              <a:t>Revisar y Reaccionar</a:t>
            </a:r>
            <a:endParaRPr lang="en-US" sz="1600" dirty="0">
              <a:solidFill>
                <a:schemeClr val="bg1"/>
              </a:solidFill>
            </a:endParaRPr>
          </a:p>
        </p:txBody>
      </p:sp>
    </p:spTree>
    <p:extLst>
      <p:ext uri="{BB962C8B-B14F-4D97-AF65-F5344CB8AC3E}">
        <p14:creationId xmlns:p14="http://schemas.microsoft.com/office/powerpoint/2010/main" val="89905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animBg="1"/>
      <p:bldP spid="4" grpId="0" animBg="1"/>
      <p:bldP spid="5" grpId="0" animBg="1"/>
      <p:bldP spid="7"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F0393-B1C9-8DD8-7B38-460C53E1F050}"/>
              </a:ext>
            </a:extLst>
          </p:cNvPr>
          <p:cNvSpPr>
            <a:spLocks noGrp="1"/>
          </p:cNvSpPr>
          <p:nvPr>
            <p:ph type="title"/>
          </p:nvPr>
        </p:nvSpPr>
        <p:spPr/>
        <p:txBody>
          <a:bodyPr/>
          <a:lstStyle/>
          <a:p>
            <a:r>
              <a:rPr lang="en-US" sz="2400" kern="1200" dirty="0" err="1"/>
              <a:t>Ciclo</a:t>
            </a:r>
            <a:r>
              <a:rPr lang="en-US" sz="2400" kern="1200" dirty="0"/>
              <a:t> de Control Actuarial</a:t>
            </a:r>
            <a:br>
              <a:rPr lang="en-US" sz="2400" kern="1200" dirty="0"/>
            </a:br>
            <a:r>
              <a:rPr lang="en-US" sz="2400" b="0" kern="1200" dirty="0" err="1"/>
              <a:t>Elementos</a:t>
            </a:r>
            <a:endParaRPr lang="en-GB" sz="2400" dirty="0"/>
          </a:p>
        </p:txBody>
      </p:sp>
      <p:sp>
        <p:nvSpPr>
          <p:cNvPr id="4" name="Abgerundetes Rechteck 15">
            <a:extLst>
              <a:ext uri="{FF2B5EF4-FFF2-40B4-BE49-F238E27FC236}">
                <a16:creationId xmlns:a16="http://schemas.microsoft.com/office/drawing/2014/main" id="{CDBCEFB0-4144-DA0A-8C4C-29C5C07D9834}"/>
              </a:ext>
            </a:extLst>
          </p:cNvPr>
          <p:cNvSpPr/>
          <p:nvPr/>
        </p:nvSpPr>
        <p:spPr>
          <a:xfrm>
            <a:off x="7138188" y="1489007"/>
            <a:ext cx="1771830" cy="1771830"/>
          </a:xfrm>
          <a:prstGeom prst="roundRect">
            <a:avLst>
              <a:gd name="adj" fmla="val 7903"/>
            </a:avLst>
          </a:prstGeom>
          <a:solidFill>
            <a:srgbClr val="7658FF"/>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4"/>
            <a:r>
              <a:rPr lang="en-GB" sz="1600" b="0" dirty="0" err="1">
                <a:solidFill>
                  <a:schemeClr val="bg1"/>
                </a:solidFill>
              </a:rPr>
              <a:t>Valoración</a:t>
            </a:r>
            <a:endParaRPr lang="en-GB" sz="1600" b="0" dirty="0">
              <a:solidFill>
                <a:schemeClr val="bg1"/>
              </a:solidFill>
            </a:endParaRPr>
          </a:p>
        </p:txBody>
      </p:sp>
      <p:sp>
        <p:nvSpPr>
          <p:cNvPr id="7" name="Abgerundetes Rechteck 13">
            <a:extLst>
              <a:ext uri="{FF2B5EF4-FFF2-40B4-BE49-F238E27FC236}">
                <a16:creationId xmlns:a16="http://schemas.microsoft.com/office/drawing/2014/main" id="{5C228EAB-EDCD-5ABD-D430-3B2F1B766202}"/>
              </a:ext>
            </a:extLst>
          </p:cNvPr>
          <p:cNvSpPr/>
          <p:nvPr/>
        </p:nvSpPr>
        <p:spPr>
          <a:xfrm>
            <a:off x="2233352" y="3313341"/>
            <a:ext cx="1771830" cy="1771830"/>
          </a:xfrm>
          <a:prstGeom prst="roundRect">
            <a:avLst>
              <a:gd name="adj" fmla="val 8651"/>
            </a:avLst>
          </a:prstGeom>
          <a:solidFill>
            <a:srgbClr val="CE4169"/>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4"/>
            <a:r>
              <a:rPr lang="en-GB" sz="1600" b="0" dirty="0" err="1">
                <a:solidFill>
                  <a:schemeClr val="bg1"/>
                </a:solidFill>
              </a:rPr>
              <a:t>Necesidad</a:t>
            </a:r>
            <a:r>
              <a:rPr lang="en-GB" sz="1600" b="0" dirty="0">
                <a:solidFill>
                  <a:schemeClr val="bg1"/>
                </a:solidFill>
              </a:rPr>
              <a:t> de los </a:t>
            </a:r>
            <a:r>
              <a:rPr lang="en-GB" sz="1600" b="0" dirty="0" err="1">
                <a:solidFill>
                  <a:schemeClr val="bg1"/>
                </a:solidFill>
              </a:rPr>
              <a:t>Cosumidores</a:t>
            </a:r>
            <a:endParaRPr lang="en-GB" sz="1600" b="0" dirty="0">
              <a:solidFill>
                <a:schemeClr val="bg1"/>
              </a:solidFill>
            </a:endParaRPr>
          </a:p>
        </p:txBody>
      </p:sp>
      <p:sp>
        <p:nvSpPr>
          <p:cNvPr id="16" name="Abgerundetes Rechteck 14">
            <a:extLst>
              <a:ext uri="{FF2B5EF4-FFF2-40B4-BE49-F238E27FC236}">
                <a16:creationId xmlns:a16="http://schemas.microsoft.com/office/drawing/2014/main" id="{8809393F-C039-5BD3-1493-6B5155E8D410}"/>
              </a:ext>
            </a:extLst>
          </p:cNvPr>
          <p:cNvSpPr/>
          <p:nvPr/>
        </p:nvSpPr>
        <p:spPr>
          <a:xfrm>
            <a:off x="7138188" y="3313341"/>
            <a:ext cx="1771830" cy="1771830"/>
          </a:xfrm>
          <a:prstGeom prst="roundRect">
            <a:avLst>
              <a:gd name="adj" fmla="val 7417"/>
            </a:avLst>
          </a:prstGeom>
          <a:solidFill>
            <a:srgbClr val="4D823E"/>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4"/>
            <a:r>
              <a:rPr lang="en-GB" sz="1600" b="0" dirty="0" err="1">
                <a:solidFill>
                  <a:schemeClr val="bg1"/>
                </a:solidFill>
              </a:rPr>
              <a:t>Determinción</a:t>
            </a:r>
            <a:r>
              <a:rPr lang="en-GB" sz="1600" b="0" dirty="0">
                <a:solidFill>
                  <a:schemeClr val="bg1"/>
                </a:solidFill>
              </a:rPr>
              <a:t> del </a:t>
            </a:r>
            <a:r>
              <a:rPr lang="en-GB" sz="1600" b="0" dirty="0" err="1">
                <a:solidFill>
                  <a:schemeClr val="bg1"/>
                </a:solidFill>
              </a:rPr>
              <a:t>Riesgo</a:t>
            </a:r>
            <a:endParaRPr lang="en-GB" sz="1600" b="0" dirty="0">
              <a:solidFill>
                <a:schemeClr val="bg1"/>
              </a:solidFill>
            </a:endParaRPr>
          </a:p>
        </p:txBody>
      </p:sp>
      <p:sp>
        <p:nvSpPr>
          <p:cNvPr id="17" name="Abgerundetes Rechteck 8">
            <a:extLst>
              <a:ext uri="{FF2B5EF4-FFF2-40B4-BE49-F238E27FC236}">
                <a16:creationId xmlns:a16="http://schemas.microsoft.com/office/drawing/2014/main" id="{05C57D79-708F-5E01-50AC-47D7AC292ECE}"/>
              </a:ext>
            </a:extLst>
          </p:cNvPr>
          <p:cNvSpPr/>
          <p:nvPr/>
        </p:nvSpPr>
        <p:spPr>
          <a:xfrm>
            <a:off x="2233352" y="2105196"/>
            <a:ext cx="1776386" cy="1155641"/>
          </a:xfrm>
          <a:prstGeom prst="roundRect">
            <a:avLst>
              <a:gd name="adj" fmla="val 8083"/>
            </a:avLst>
          </a:prstGeom>
          <a:solidFill>
            <a:srgbClr val="FFC6D0"/>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721833"/>
                </a:solidFill>
              </a:rPr>
              <a:t>Estudio</a:t>
            </a:r>
            <a:r>
              <a:rPr lang="en-GB" sz="1200" kern="0" spc="20" dirty="0">
                <a:solidFill>
                  <a:srgbClr val="721833"/>
                </a:solidFill>
              </a:rPr>
              <a:t> de Mercado</a:t>
            </a:r>
            <a:endParaRPr lang="en-GB" sz="1200" b="0" kern="0" spc="20" dirty="0">
              <a:solidFill>
                <a:srgbClr val="721833"/>
              </a:solidFill>
            </a:endParaRPr>
          </a:p>
        </p:txBody>
      </p:sp>
      <p:sp>
        <p:nvSpPr>
          <p:cNvPr id="18" name="Abgerundetes Rechteck 9">
            <a:extLst>
              <a:ext uri="{FF2B5EF4-FFF2-40B4-BE49-F238E27FC236}">
                <a16:creationId xmlns:a16="http://schemas.microsoft.com/office/drawing/2014/main" id="{326FF9B0-A000-BA46-547B-E500147DC68E}"/>
              </a:ext>
            </a:extLst>
          </p:cNvPr>
          <p:cNvSpPr/>
          <p:nvPr/>
        </p:nvSpPr>
        <p:spPr>
          <a:xfrm>
            <a:off x="391700" y="3313341"/>
            <a:ext cx="1771831" cy="1155641"/>
          </a:xfrm>
          <a:prstGeom prst="roundRect">
            <a:avLst>
              <a:gd name="adj" fmla="val 8257"/>
            </a:avLst>
          </a:prstGeom>
          <a:solidFill>
            <a:srgbClr val="FFC6D0"/>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721833"/>
                </a:solidFill>
                <a:cs typeface="Arial" panose="020B0604020202020204" pitchFamily="34" charset="0"/>
              </a:rPr>
              <a:t>Límites</a:t>
            </a:r>
            <a:endParaRPr lang="en-GB" sz="1200" b="0" kern="0" spc="20" dirty="0">
              <a:solidFill>
                <a:srgbClr val="721833"/>
              </a:solidFill>
              <a:cs typeface="Arial" panose="020B0604020202020204" pitchFamily="34" charset="0"/>
            </a:endParaRPr>
          </a:p>
        </p:txBody>
      </p:sp>
      <p:sp>
        <p:nvSpPr>
          <p:cNvPr id="19" name="Abgerundetes Rechteck 10">
            <a:extLst>
              <a:ext uri="{FF2B5EF4-FFF2-40B4-BE49-F238E27FC236}">
                <a16:creationId xmlns:a16="http://schemas.microsoft.com/office/drawing/2014/main" id="{24262745-A83D-77B9-AC08-BAF9C9BA328E}"/>
              </a:ext>
            </a:extLst>
          </p:cNvPr>
          <p:cNvSpPr/>
          <p:nvPr/>
        </p:nvSpPr>
        <p:spPr>
          <a:xfrm>
            <a:off x="2233352" y="5142154"/>
            <a:ext cx="1771830" cy="1155641"/>
          </a:xfrm>
          <a:prstGeom prst="roundRect">
            <a:avLst>
              <a:gd name="adj" fmla="val 11069"/>
            </a:avLst>
          </a:prstGeom>
          <a:solidFill>
            <a:srgbClr val="FFC6D0"/>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721833"/>
                </a:solidFill>
                <a:cs typeface="Arial" panose="020B0604020202020204" pitchFamily="34" charset="0"/>
              </a:rPr>
              <a:t>Proyección</a:t>
            </a:r>
            <a:r>
              <a:rPr lang="en-GB" sz="1200" kern="0" spc="20" dirty="0">
                <a:solidFill>
                  <a:srgbClr val="721833"/>
                </a:solidFill>
                <a:cs typeface="Arial" panose="020B0604020202020204" pitchFamily="34" charset="0"/>
              </a:rPr>
              <a:t> de Ventas</a:t>
            </a:r>
          </a:p>
        </p:txBody>
      </p:sp>
      <p:sp>
        <p:nvSpPr>
          <p:cNvPr id="20" name="Abgerundetes Rechteck 12">
            <a:extLst>
              <a:ext uri="{FF2B5EF4-FFF2-40B4-BE49-F238E27FC236}">
                <a16:creationId xmlns:a16="http://schemas.microsoft.com/office/drawing/2014/main" id="{C13BFC45-E4C9-D736-D2BF-72A05DCF2578}"/>
              </a:ext>
            </a:extLst>
          </p:cNvPr>
          <p:cNvSpPr/>
          <p:nvPr/>
        </p:nvSpPr>
        <p:spPr>
          <a:xfrm>
            <a:off x="5302563" y="1493556"/>
            <a:ext cx="1776386" cy="1154303"/>
          </a:xfrm>
          <a:prstGeom prst="roundRect">
            <a:avLst>
              <a:gd name="adj" fmla="val 12915"/>
            </a:avLst>
          </a:prstGeom>
          <a:solidFill>
            <a:srgbClr val="D4CFFF"/>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dirty="0" err="1">
                <a:solidFill>
                  <a:srgbClr val="3B2398"/>
                </a:solidFill>
                <a:cs typeface="Arial" panose="020B0604020202020204" pitchFamily="34" charset="0"/>
              </a:rPr>
              <a:t>Solvencia</a:t>
            </a:r>
            <a:endParaRPr lang="en-GB" sz="1200" b="0" kern="0" spc="20" dirty="0">
              <a:solidFill>
                <a:srgbClr val="3B2398"/>
              </a:solidFill>
              <a:cs typeface="Arial" panose="020B0604020202020204" pitchFamily="34" charset="0"/>
            </a:endParaRPr>
          </a:p>
        </p:txBody>
      </p:sp>
      <p:sp>
        <p:nvSpPr>
          <p:cNvPr id="21" name="Abgerundetes Rechteck 18">
            <a:extLst>
              <a:ext uri="{FF2B5EF4-FFF2-40B4-BE49-F238E27FC236}">
                <a16:creationId xmlns:a16="http://schemas.microsoft.com/office/drawing/2014/main" id="{8A2DF2B4-84F2-800F-33CF-C76592401151}"/>
              </a:ext>
            </a:extLst>
          </p:cNvPr>
          <p:cNvSpPr/>
          <p:nvPr/>
        </p:nvSpPr>
        <p:spPr>
          <a:xfrm>
            <a:off x="8984152" y="2100196"/>
            <a:ext cx="1771830" cy="1160641"/>
          </a:xfrm>
          <a:prstGeom prst="roundRect">
            <a:avLst>
              <a:gd name="adj" fmla="val 8147"/>
            </a:avLst>
          </a:prstGeom>
          <a:solidFill>
            <a:srgbClr val="D4CFFF"/>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3B2398"/>
                </a:solidFill>
                <a:cs typeface="Arial" panose="020B0604020202020204" pitchFamily="34" charset="0"/>
              </a:rPr>
              <a:t>Experiencia</a:t>
            </a:r>
            <a:endParaRPr lang="en-GB" sz="1200" b="0" kern="0" spc="20" dirty="0">
              <a:solidFill>
                <a:srgbClr val="3B2398"/>
              </a:solidFill>
              <a:cs typeface="Arial" panose="020B0604020202020204" pitchFamily="34" charset="0"/>
            </a:endParaRPr>
          </a:p>
        </p:txBody>
      </p:sp>
      <p:sp>
        <p:nvSpPr>
          <p:cNvPr id="22" name="Abgerundetes Rechteck 21">
            <a:extLst>
              <a:ext uri="{FF2B5EF4-FFF2-40B4-BE49-F238E27FC236}">
                <a16:creationId xmlns:a16="http://schemas.microsoft.com/office/drawing/2014/main" id="{B4FC6884-0888-31D3-040A-40CF22BC36E6}"/>
              </a:ext>
            </a:extLst>
          </p:cNvPr>
          <p:cNvSpPr/>
          <p:nvPr/>
        </p:nvSpPr>
        <p:spPr>
          <a:xfrm>
            <a:off x="8984152" y="3313341"/>
            <a:ext cx="1763204" cy="1168683"/>
          </a:xfrm>
          <a:prstGeom prst="roundRect">
            <a:avLst>
              <a:gd name="adj" fmla="val 8147"/>
            </a:avLst>
          </a:prstGeom>
          <a:solidFill>
            <a:srgbClr val="8EEA74"/>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25421C"/>
                </a:solidFill>
                <a:cs typeface="Arial" panose="020B0604020202020204" pitchFamily="34" charset="0"/>
              </a:rPr>
              <a:t>Diseño</a:t>
            </a:r>
            <a:r>
              <a:rPr lang="en-GB" sz="1200" kern="0" spc="20" dirty="0">
                <a:solidFill>
                  <a:srgbClr val="25421C"/>
                </a:solidFill>
                <a:cs typeface="Arial" panose="020B0604020202020204" pitchFamily="34" charset="0"/>
              </a:rPr>
              <a:t> del Producto</a:t>
            </a:r>
            <a:endParaRPr lang="en-GB" sz="1200" b="0" kern="0" spc="20" dirty="0">
              <a:solidFill>
                <a:srgbClr val="25421C"/>
              </a:solidFill>
              <a:cs typeface="Arial" panose="020B0604020202020204" pitchFamily="34" charset="0"/>
            </a:endParaRPr>
          </a:p>
        </p:txBody>
      </p:sp>
      <p:sp>
        <p:nvSpPr>
          <p:cNvPr id="23" name="Abgerundetes Rechteck 22">
            <a:extLst>
              <a:ext uri="{FF2B5EF4-FFF2-40B4-BE49-F238E27FC236}">
                <a16:creationId xmlns:a16="http://schemas.microsoft.com/office/drawing/2014/main" id="{AAC5B807-E771-A7C6-3A45-73B54157A706}"/>
              </a:ext>
            </a:extLst>
          </p:cNvPr>
          <p:cNvSpPr/>
          <p:nvPr/>
        </p:nvSpPr>
        <p:spPr>
          <a:xfrm>
            <a:off x="8984152" y="4529608"/>
            <a:ext cx="1771830" cy="1155641"/>
          </a:xfrm>
          <a:prstGeom prst="roundRect">
            <a:avLst>
              <a:gd name="adj" fmla="val 7547"/>
            </a:avLst>
          </a:prstGeom>
          <a:solidFill>
            <a:srgbClr val="8EEA74"/>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25421C"/>
                </a:solidFill>
                <a:cs typeface="Arial" panose="020B0604020202020204" pitchFamily="34" charset="0"/>
              </a:rPr>
              <a:t>Tarificación</a:t>
            </a:r>
            <a:endParaRPr lang="en-GB" sz="1200" b="0" kern="0" spc="20" dirty="0">
              <a:solidFill>
                <a:srgbClr val="25421C"/>
              </a:solidFill>
              <a:cs typeface="Arial" panose="020B0604020202020204" pitchFamily="34" charset="0"/>
            </a:endParaRPr>
          </a:p>
        </p:txBody>
      </p:sp>
      <p:sp>
        <p:nvSpPr>
          <p:cNvPr id="24" name="Abgerundetes Rechteck 23">
            <a:extLst>
              <a:ext uri="{FF2B5EF4-FFF2-40B4-BE49-F238E27FC236}">
                <a16:creationId xmlns:a16="http://schemas.microsoft.com/office/drawing/2014/main" id="{B9EC5FB5-A6D8-0C7E-D5E8-23576BEE164E}"/>
              </a:ext>
            </a:extLst>
          </p:cNvPr>
          <p:cNvSpPr/>
          <p:nvPr/>
        </p:nvSpPr>
        <p:spPr>
          <a:xfrm>
            <a:off x="7138188" y="5142154"/>
            <a:ext cx="1771830" cy="1145734"/>
          </a:xfrm>
          <a:prstGeom prst="roundRect">
            <a:avLst>
              <a:gd name="adj" fmla="val 10678"/>
            </a:avLst>
          </a:prstGeom>
          <a:solidFill>
            <a:srgbClr val="8EEA74"/>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spcAft>
                <a:spcPts val="0"/>
              </a:spcAft>
            </a:pPr>
            <a:r>
              <a:rPr lang="en-GB" sz="1200" kern="0" spc="20" dirty="0" err="1">
                <a:solidFill>
                  <a:srgbClr val="25421C"/>
                </a:solidFill>
                <a:cs typeface="Arial" panose="020B0604020202020204" pitchFamily="34" charset="0"/>
              </a:rPr>
              <a:t>Modelización</a:t>
            </a:r>
            <a:endParaRPr lang="en-GB" sz="1200" b="0" kern="0" spc="20" dirty="0">
              <a:solidFill>
                <a:srgbClr val="25421C"/>
              </a:solidFill>
              <a:cs typeface="Arial" panose="020B0604020202020204" pitchFamily="34" charset="0"/>
            </a:endParaRPr>
          </a:p>
        </p:txBody>
      </p:sp>
      <p:sp>
        <p:nvSpPr>
          <p:cNvPr id="5" name="Abgerundetes Rechteck 16">
            <a:extLst>
              <a:ext uri="{FF2B5EF4-FFF2-40B4-BE49-F238E27FC236}">
                <a16:creationId xmlns:a16="http://schemas.microsoft.com/office/drawing/2014/main" id="{8C587A2B-3AD9-2BBA-73A7-8C77E67BB295}"/>
              </a:ext>
            </a:extLst>
          </p:cNvPr>
          <p:cNvSpPr/>
          <p:nvPr/>
        </p:nvSpPr>
        <p:spPr>
          <a:xfrm>
            <a:off x="4076003" y="2711281"/>
            <a:ext cx="3002946" cy="2966342"/>
          </a:xfrm>
          <a:prstGeom prst="roundRect">
            <a:avLst>
              <a:gd name="adj" fmla="val 5321"/>
            </a:avLst>
          </a:prstGeom>
          <a:solidFill>
            <a:schemeClr val="tx2"/>
          </a:solidFill>
          <a:ln w="12700" cap="flat">
            <a:noFill/>
            <a:prstDash val="solid"/>
            <a:miter/>
          </a:ln>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5"/>
            <a:r>
              <a:rPr lang="en-GB" sz="2000" dirty="0" err="1">
                <a:solidFill>
                  <a:schemeClr val="bg1"/>
                </a:solidFill>
              </a:rPr>
              <a:t>Ciclo</a:t>
            </a:r>
            <a:r>
              <a:rPr lang="en-GB" sz="2000" dirty="0">
                <a:solidFill>
                  <a:schemeClr val="bg1"/>
                </a:solidFill>
              </a:rPr>
              <a:t> de Control</a:t>
            </a:r>
          </a:p>
        </p:txBody>
      </p:sp>
    </p:spTree>
    <p:extLst>
      <p:ext uri="{BB962C8B-B14F-4D97-AF65-F5344CB8AC3E}">
        <p14:creationId xmlns:p14="http://schemas.microsoft.com/office/powerpoint/2010/main" val="3596946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35940E1-DC80-2FD2-E88B-A07237DD0D56}"/>
              </a:ext>
            </a:extLst>
          </p:cNvPr>
          <p:cNvSpPr txBox="1"/>
          <p:nvPr/>
        </p:nvSpPr>
        <p:spPr>
          <a:xfrm>
            <a:off x="513745" y="4384822"/>
            <a:ext cx="1710000" cy="3193200"/>
          </a:xfrm>
          <a:prstGeom prst="rect">
            <a:avLst/>
          </a:prstGeom>
          <a:noFill/>
        </p:spPr>
        <p:txBody>
          <a:bodyPr wrap="square" lIns="0" tIns="216000" rIns="0" bIns="0" rtlCol="0">
            <a:noAutofit/>
          </a:bodyPr>
          <a:lstStyle/>
          <a:p>
            <a:pPr lvl="6"/>
            <a:r>
              <a:rPr lang="en-GB" dirty="0"/>
              <a:t>1</a:t>
            </a:r>
          </a:p>
          <a:p>
            <a:pPr lvl="4"/>
            <a:r>
              <a:rPr lang="en-GB" b="0" dirty="0" err="1"/>
              <a:t>Definimos</a:t>
            </a:r>
            <a:r>
              <a:rPr lang="en-GB" b="0" dirty="0"/>
              <a:t> </a:t>
            </a:r>
            <a:r>
              <a:rPr lang="en-GB" b="0" dirty="0" err="1"/>
              <a:t>el</a:t>
            </a:r>
            <a:r>
              <a:rPr lang="en-GB" b="0" dirty="0"/>
              <a:t> </a:t>
            </a:r>
            <a:r>
              <a:rPr lang="en-GB" b="0" dirty="0" err="1"/>
              <a:t>problema</a:t>
            </a:r>
            <a:endParaRPr lang="en-GB" b="0" dirty="0"/>
          </a:p>
        </p:txBody>
      </p:sp>
      <p:sp>
        <p:nvSpPr>
          <p:cNvPr id="28" name="TextBox 27">
            <a:extLst>
              <a:ext uri="{FF2B5EF4-FFF2-40B4-BE49-F238E27FC236}">
                <a16:creationId xmlns:a16="http://schemas.microsoft.com/office/drawing/2014/main" id="{84797A9D-9AF3-494E-5884-B4ECD650F6BC}"/>
              </a:ext>
            </a:extLst>
          </p:cNvPr>
          <p:cNvSpPr txBox="1"/>
          <p:nvPr/>
        </p:nvSpPr>
        <p:spPr>
          <a:xfrm>
            <a:off x="9988945" y="4384822"/>
            <a:ext cx="1710000" cy="3193200"/>
          </a:xfrm>
          <a:prstGeom prst="rect">
            <a:avLst/>
          </a:prstGeom>
          <a:noFill/>
        </p:spPr>
        <p:txBody>
          <a:bodyPr wrap="square" lIns="0" tIns="216000" rIns="0" bIns="0" rtlCol="0">
            <a:noAutofit/>
          </a:bodyPr>
          <a:lstStyle/>
          <a:p>
            <a:pPr lvl="6"/>
            <a:r>
              <a:rPr lang="en-GB" dirty="0"/>
              <a:t>5</a:t>
            </a:r>
          </a:p>
          <a:p>
            <a:pPr lvl="4"/>
            <a:r>
              <a:rPr lang="en-GB" b="0" dirty="0" err="1"/>
              <a:t>Actualizar</a:t>
            </a:r>
            <a:endParaRPr lang="en-GB" b="0" dirty="0"/>
          </a:p>
        </p:txBody>
      </p:sp>
      <p:sp>
        <p:nvSpPr>
          <p:cNvPr id="33" name="TextBox 32">
            <a:extLst>
              <a:ext uri="{FF2B5EF4-FFF2-40B4-BE49-F238E27FC236}">
                <a16:creationId xmlns:a16="http://schemas.microsoft.com/office/drawing/2014/main" id="{9BA146F0-E00E-4454-8A07-B2972DC9BE58}"/>
              </a:ext>
            </a:extLst>
          </p:cNvPr>
          <p:cNvSpPr txBox="1"/>
          <p:nvPr/>
        </p:nvSpPr>
        <p:spPr>
          <a:xfrm>
            <a:off x="2882545" y="4384822"/>
            <a:ext cx="1710000" cy="3193200"/>
          </a:xfrm>
          <a:prstGeom prst="rect">
            <a:avLst/>
          </a:prstGeom>
          <a:noFill/>
        </p:spPr>
        <p:txBody>
          <a:bodyPr wrap="square" lIns="0" tIns="216000" rIns="0" bIns="0" rtlCol="0">
            <a:noAutofit/>
          </a:bodyPr>
          <a:lstStyle/>
          <a:p>
            <a:pPr lvl="6"/>
            <a:r>
              <a:rPr lang="en-GB" dirty="0"/>
              <a:t>2</a:t>
            </a:r>
          </a:p>
          <a:p>
            <a:pPr lvl="4"/>
            <a:r>
              <a:rPr lang="en-GB" b="0" dirty="0" err="1"/>
              <a:t>Desarrollar</a:t>
            </a:r>
            <a:r>
              <a:rPr lang="en-GB" b="0" dirty="0"/>
              <a:t> </a:t>
            </a:r>
            <a:r>
              <a:rPr lang="en-GB" b="0" dirty="0" err="1"/>
              <a:t>una</a:t>
            </a:r>
            <a:r>
              <a:rPr lang="en-GB" b="0" dirty="0"/>
              <a:t> </a:t>
            </a:r>
            <a:r>
              <a:rPr lang="en-GB" b="0" dirty="0" err="1"/>
              <a:t>solución</a:t>
            </a:r>
            <a:endParaRPr lang="en-GB" b="0" dirty="0"/>
          </a:p>
        </p:txBody>
      </p:sp>
      <p:sp>
        <p:nvSpPr>
          <p:cNvPr id="39" name="TextBox 38">
            <a:extLst>
              <a:ext uri="{FF2B5EF4-FFF2-40B4-BE49-F238E27FC236}">
                <a16:creationId xmlns:a16="http://schemas.microsoft.com/office/drawing/2014/main" id="{0E7DF651-C306-0E5D-F94C-8E57AF810E57}"/>
              </a:ext>
            </a:extLst>
          </p:cNvPr>
          <p:cNvSpPr txBox="1"/>
          <p:nvPr/>
        </p:nvSpPr>
        <p:spPr>
          <a:xfrm>
            <a:off x="5251345" y="4384822"/>
            <a:ext cx="1710000" cy="3193200"/>
          </a:xfrm>
          <a:prstGeom prst="rect">
            <a:avLst/>
          </a:prstGeom>
          <a:noFill/>
        </p:spPr>
        <p:txBody>
          <a:bodyPr wrap="square" lIns="0" tIns="216000" rIns="0" bIns="0" rtlCol="0">
            <a:noAutofit/>
          </a:bodyPr>
          <a:lstStyle/>
          <a:p>
            <a:pPr lvl="6"/>
            <a:r>
              <a:rPr lang="en-GB" dirty="0"/>
              <a:t>3</a:t>
            </a:r>
          </a:p>
          <a:p>
            <a:pPr lvl="4"/>
            <a:r>
              <a:rPr lang="en-GB" b="0" dirty="0" err="1"/>
              <a:t>Implementar</a:t>
            </a:r>
            <a:r>
              <a:rPr lang="en-GB" b="0" dirty="0"/>
              <a:t> la </a:t>
            </a:r>
            <a:r>
              <a:rPr lang="en-GB" b="0" dirty="0" err="1"/>
              <a:t>solución</a:t>
            </a:r>
            <a:endParaRPr lang="en-GB" b="0" dirty="0"/>
          </a:p>
        </p:txBody>
      </p:sp>
      <p:sp>
        <p:nvSpPr>
          <p:cNvPr id="40" name="TextBox 39">
            <a:extLst>
              <a:ext uri="{FF2B5EF4-FFF2-40B4-BE49-F238E27FC236}">
                <a16:creationId xmlns:a16="http://schemas.microsoft.com/office/drawing/2014/main" id="{146CB0A6-7E51-2E47-5479-A2034F93EE75}"/>
              </a:ext>
            </a:extLst>
          </p:cNvPr>
          <p:cNvSpPr txBox="1"/>
          <p:nvPr/>
        </p:nvSpPr>
        <p:spPr>
          <a:xfrm>
            <a:off x="7620145" y="4384822"/>
            <a:ext cx="1710000" cy="3193200"/>
          </a:xfrm>
          <a:prstGeom prst="rect">
            <a:avLst/>
          </a:prstGeom>
          <a:noFill/>
        </p:spPr>
        <p:txBody>
          <a:bodyPr wrap="square" lIns="0" tIns="216000" rIns="0" bIns="0" rtlCol="0">
            <a:noAutofit/>
          </a:bodyPr>
          <a:lstStyle/>
          <a:p>
            <a:pPr lvl="6"/>
            <a:r>
              <a:rPr lang="en-GB" dirty="0"/>
              <a:t>4</a:t>
            </a:r>
          </a:p>
          <a:p>
            <a:pPr lvl="4"/>
            <a:r>
              <a:rPr lang="en-GB" b="0" dirty="0" err="1"/>
              <a:t>Supervisar</a:t>
            </a:r>
            <a:endParaRPr lang="en-GB" b="0" dirty="0"/>
          </a:p>
        </p:txBody>
      </p:sp>
      <p:grpSp>
        <p:nvGrpSpPr>
          <p:cNvPr id="18" name="Group 17">
            <a:extLst>
              <a:ext uri="{FF2B5EF4-FFF2-40B4-BE49-F238E27FC236}">
                <a16:creationId xmlns:a16="http://schemas.microsoft.com/office/drawing/2014/main" id="{B3E31E07-1CEE-8FDF-88F4-7E3CD9B04CF0}"/>
              </a:ext>
            </a:extLst>
          </p:cNvPr>
          <p:cNvGrpSpPr>
            <a:grpSpLocks noChangeAspect="1"/>
          </p:cNvGrpSpPr>
          <p:nvPr/>
        </p:nvGrpSpPr>
        <p:grpSpPr>
          <a:xfrm>
            <a:off x="2462548" y="3349786"/>
            <a:ext cx="180195" cy="360000"/>
            <a:chOff x="2222455" y="2054404"/>
            <a:chExt cx="180195" cy="360000"/>
          </a:xfrm>
        </p:grpSpPr>
        <p:cxnSp>
          <p:nvCxnSpPr>
            <p:cNvPr id="16" name="Gerade Verbindung 37">
              <a:extLst>
                <a:ext uri="{FF2B5EF4-FFF2-40B4-BE49-F238E27FC236}">
                  <a16:creationId xmlns:a16="http://schemas.microsoft.com/office/drawing/2014/main" id="{204BF6CC-FA74-DAB0-DE4E-097983E3E4C3}"/>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 Verbindung 39">
              <a:extLst>
                <a:ext uri="{FF2B5EF4-FFF2-40B4-BE49-F238E27FC236}">
                  <a16:creationId xmlns:a16="http://schemas.microsoft.com/office/drawing/2014/main" id="{FF0A8CC6-6765-EE94-C137-C642BC3FBAB7}"/>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F6319F2-1674-348E-37D5-4BE53444CCEE}"/>
              </a:ext>
            </a:extLst>
          </p:cNvPr>
          <p:cNvGrpSpPr>
            <a:grpSpLocks noChangeAspect="1"/>
          </p:cNvGrpSpPr>
          <p:nvPr/>
        </p:nvGrpSpPr>
        <p:grpSpPr>
          <a:xfrm>
            <a:off x="4831673" y="3349786"/>
            <a:ext cx="180195" cy="360000"/>
            <a:chOff x="2222455" y="2054404"/>
            <a:chExt cx="180195" cy="360000"/>
          </a:xfrm>
        </p:grpSpPr>
        <p:cxnSp>
          <p:nvCxnSpPr>
            <p:cNvPr id="20" name="Gerade Verbindung 37">
              <a:extLst>
                <a:ext uri="{FF2B5EF4-FFF2-40B4-BE49-F238E27FC236}">
                  <a16:creationId xmlns:a16="http://schemas.microsoft.com/office/drawing/2014/main" id="{6E813C01-BD8E-146D-171A-B187C8EDE858}"/>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Gerade Verbindung 39">
              <a:extLst>
                <a:ext uri="{FF2B5EF4-FFF2-40B4-BE49-F238E27FC236}">
                  <a16:creationId xmlns:a16="http://schemas.microsoft.com/office/drawing/2014/main" id="{3905A5AD-A035-C3FC-BC59-436002197009}"/>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FE743851-28D3-5BBA-17A1-7B43DBD4B198}"/>
              </a:ext>
            </a:extLst>
          </p:cNvPr>
          <p:cNvGrpSpPr>
            <a:grpSpLocks noChangeAspect="1"/>
          </p:cNvGrpSpPr>
          <p:nvPr/>
        </p:nvGrpSpPr>
        <p:grpSpPr>
          <a:xfrm>
            <a:off x="7200798" y="3349786"/>
            <a:ext cx="180195" cy="360000"/>
            <a:chOff x="2222455" y="2054404"/>
            <a:chExt cx="180195" cy="360000"/>
          </a:xfrm>
        </p:grpSpPr>
        <p:cxnSp>
          <p:nvCxnSpPr>
            <p:cNvPr id="23" name="Gerade Verbindung 37">
              <a:extLst>
                <a:ext uri="{FF2B5EF4-FFF2-40B4-BE49-F238E27FC236}">
                  <a16:creationId xmlns:a16="http://schemas.microsoft.com/office/drawing/2014/main" id="{23BA2FBF-7A46-F5B0-659B-73D89D6E9EAE}"/>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 Verbindung 39">
              <a:extLst>
                <a:ext uri="{FF2B5EF4-FFF2-40B4-BE49-F238E27FC236}">
                  <a16:creationId xmlns:a16="http://schemas.microsoft.com/office/drawing/2014/main" id="{301EA22B-B84F-896C-CA17-782204FEE029}"/>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FF1C72D-ADC7-97A7-469D-8F642DEDB3C2}"/>
              </a:ext>
            </a:extLst>
          </p:cNvPr>
          <p:cNvGrpSpPr>
            <a:grpSpLocks noChangeAspect="1"/>
          </p:cNvGrpSpPr>
          <p:nvPr/>
        </p:nvGrpSpPr>
        <p:grpSpPr>
          <a:xfrm>
            <a:off x="9569923" y="3349786"/>
            <a:ext cx="180195" cy="360000"/>
            <a:chOff x="2222455" y="2054404"/>
            <a:chExt cx="180195" cy="360000"/>
          </a:xfrm>
        </p:grpSpPr>
        <p:cxnSp>
          <p:nvCxnSpPr>
            <p:cNvPr id="26" name="Gerade Verbindung 37">
              <a:extLst>
                <a:ext uri="{FF2B5EF4-FFF2-40B4-BE49-F238E27FC236}">
                  <a16:creationId xmlns:a16="http://schemas.microsoft.com/office/drawing/2014/main" id="{80B879D3-A64A-AA7F-0555-E84D186CC22E}"/>
                </a:ext>
              </a:extLst>
            </p:cNvPr>
            <p:cNvCxnSpPr>
              <a:cxnSpLocks/>
            </p:cNvCxnSpPr>
            <p:nvPr/>
          </p:nvCxnSpPr>
          <p:spPr>
            <a:xfrm rot="5400000" flipV="1">
              <a:off x="2222553" y="2054306"/>
              <a:ext cx="180000" cy="180195"/>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Gerade Verbindung 39">
              <a:extLst>
                <a:ext uri="{FF2B5EF4-FFF2-40B4-BE49-F238E27FC236}">
                  <a16:creationId xmlns:a16="http://schemas.microsoft.com/office/drawing/2014/main" id="{14B2F528-8FB4-C83C-FCD1-F4597103DA5D}"/>
                </a:ext>
              </a:extLst>
            </p:cNvPr>
            <p:cNvCxnSpPr>
              <a:cxnSpLocks/>
            </p:cNvCxnSpPr>
            <p:nvPr/>
          </p:nvCxnSpPr>
          <p:spPr>
            <a:xfrm rot="10800000" flipV="1">
              <a:off x="2222455" y="2234404"/>
              <a:ext cx="180195" cy="18000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Freeform: Shape 4">
            <a:extLst>
              <a:ext uri="{FF2B5EF4-FFF2-40B4-BE49-F238E27FC236}">
                <a16:creationId xmlns:a16="http://schemas.microsoft.com/office/drawing/2014/main" id="{FBE5263A-37B6-12ED-5805-5FB25D11B572}"/>
              </a:ext>
            </a:extLst>
          </p:cNvPr>
          <p:cNvSpPr>
            <a:spLocks noChangeAspect="1"/>
          </p:cNvSpPr>
          <p:nvPr/>
        </p:nvSpPr>
        <p:spPr>
          <a:xfrm>
            <a:off x="513083" y="267482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a:endParaRPr lang="en-GB" b="0" dirty="0">
              <a:solidFill>
                <a:schemeClr val="bg1"/>
              </a:solidFill>
            </a:endParaRPr>
          </a:p>
        </p:txBody>
      </p:sp>
      <p:sp>
        <p:nvSpPr>
          <p:cNvPr id="7" name="Freeform: Shape 6">
            <a:extLst>
              <a:ext uri="{FF2B5EF4-FFF2-40B4-BE49-F238E27FC236}">
                <a16:creationId xmlns:a16="http://schemas.microsoft.com/office/drawing/2014/main" id="{79CC1875-6A2F-7074-1C10-6AE29D2F0AE9}"/>
              </a:ext>
            </a:extLst>
          </p:cNvPr>
          <p:cNvSpPr>
            <a:spLocks noChangeAspect="1"/>
          </p:cNvSpPr>
          <p:nvPr/>
        </p:nvSpPr>
        <p:spPr>
          <a:xfrm>
            <a:off x="2882208" y="267482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a:endParaRPr lang="en-GB" b="0" dirty="0">
              <a:solidFill>
                <a:schemeClr val="bg1"/>
              </a:solidFill>
            </a:endParaRPr>
          </a:p>
        </p:txBody>
      </p:sp>
      <p:sp>
        <p:nvSpPr>
          <p:cNvPr id="8" name="Freeform: Shape 7">
            <a:extLst>
              <a:ext uri="{FF2B5EF4-FFF2-40B4-BE49-F238E27FC236}">
                <a16:creationId xmlns:a16="http://schemas.microsoft.com/office/drawing/2014/main" id="{6A46AF45-7F6A-2A14-235D-66EEE6A56427}"/>
              </a:ext>
            </a:extLst>
          </p:cNvPr>
          <p:cNvSpPr>
            <a:spLocks noChangeAspect="1"/>
          </p:cNvSpPr>
          <p:nvPr/>
        </p:nvSpPr>
        <p:spPr>
          <a:xfrm>
            <a:off x="5251333" y="267482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a:endParaRPr lang="en-GB" b="0" dirty="0">
              <a:solidFill>
                <a:schemeClr val="bg1"/>
              </a:solidFill>
            </a:endParaRPr>
          </a:p>
        </p:txBody>
      </p:sp>
      <p:sp>
        <p:nvSpPr>
          <p:cNvPr id="9" name="Freeform: Shape 8">
            <a:extLst>
              <a:ext uri="{FF2B5EF4-FFF2-40B4-BE49-F238E27FC236}">
                <a16:creationId xmlns:a16="http://schemas.microsoft.com/office/drawing/2014/main" id="{8CB48652-42A3-1618-93AC-D35DCE0FE6DC}"/>
              </a:ext>
            </a:extLst>
          </p:cNvPr>
          <p:cNvSpPr>
            <a:spLocks noChangeAspect="1"/>
          </p:cNvSpPr>
          <p:nvPr/>
        </p:nvSpPr>
        <p:spPr>
          <a:xfrm>
            <a:off x="7620458" y="267482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a:endParaRPr lang="en-GB" b="0" dirty="0">
              <a:solidFill>
                <a:schemeClr val="bg1"/>
              </a:solidFill>
            </a:endParaRPr>
          </a:p>
        </p:txBody>
      </p:sp>
      <p:sp>
        <p:nvSpPr>
          <p:cNvPr id="6" name="Freeform: Shape 5">
            <a:extLst>
              <a:ext uri="{FF2B5EF4-FFF2-40B4-BE49-F238E27FC236}">
                <a16:creationId xmlns:a16="http://schemas.microsoft.com/office/drawing/2014/main" id="{5E490D18-3F4D-7955-E9C1-41CE42E624DD}"/>
              </a:ext>
            </a:extLst>
          </p:cNvPr>
          <p:cNvSpPr>
            <a:spLocks noChangeAspect="1"/>
          </p:cNvSpPr>
          <p:nvPr/>
        </p:nvSpPr>
        <p:spPr>
          <a:xfrm>
            <a:off x="9989583" y="2674822"/>
            <a:ext cx="1710000" cy="1709928"/>
          </a:xfrm>
          <a:custGeom>
            <a:avLst/>
            <a:gdLst>
              <a:gd name="connsiteX0" fmla="*/ 0 w 1706880"/>
              <a:gd name="connsiteY0" fmla="*/ 270256 h 1709928"/>
              <a:gd name="connsiteX1" fmla="*/ 270256 w 1706880"/>
              <a:gd name="connsiteY1" fmla="*/ 0 h 1709928"/>
              <a:gd name="connsiteX2" fmla="*/ 1436624 w 1706880"/>
              <a:gd name="connsiteY2" fmla="*/ 0 h 1709928"/>
              <a:gd name="connsiteX3" fmla="*/ 1706880 w 1706880"/>
              <a:gd name="connsiteY3" fmla="*/ 270256 h 1709928"/>
              <a:gd name="connsiteX4" fmla="*/ 1706880 w 1706880"/>
              <a:gd name="connsiteY4" fmla="*/ 1439672 h 1709928"/>
              <a:gd name="connsiteX5" fmla="*/ 1436624 w 1706880"/>
              <a:gd name="connsiteY5" fmla="*/ 1709928 h 1709928"/>
              <a:gd name="connsiteX6" fmla="*/ 270256 w 1706880"/>
              <a:gd name="connsiteY6" fmla="*/ 1709928 h 1709928"/>
              <a:gd name="connsiteX7" fmla="*/ 0 w 1706880"/>
              <a:gd name="connsiteY7" fmla="*/ 1439672 h 1709928"/>
              <a:gd name="connsiteX8" fmla="*/ 0 w 1706880"/>
              <a:gd name="connsiteY8" fmla="*/ 270256 h 17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1709928">
                <a:moveTo>
                  <a:pt x="0" y="270256"/>
                </a:moveTo>
                <a:cubicBezTo>
                  <a:pt x="0" y="121031"/>
                  <a:pt x="121031" y="0"/>
                  <a:pt x="270256" y="0"/>
                </a:cubicBezTo>
                <a:lnTo>
                  <a:pt x="1436624" y="0"/>
                </a:lnTo>
                <a:cubicBezTo>
                  <a:pt x="1585849" y="0"/>
                  <a:pt x="1706880" y="121031"/>
                  <a:pt x="1706880" y="270256"/>
                </a:cubicBezTo>
                <a:lnTo>
                  <a:pt x="1706880" y="1439672"/>
                </a:lnTo>
                <a:cubicBezTo>
                  <a:pt x="1706880" y="1588897"/>
                  <a:pt x="1585849" y="1709928"/>
                  <a:pt x="1436624" y="1709928"/>
                </a:cubicBezTo>
                <a:lnTo>
                  <a:pt x="270256" y="1709928"/>
                </a:lnTo>
                <a:cubicBezTo>
                  <a:pt x="121031" y="1709928"/>
                  <a:pt x="0" y="1588897"/>
                  <a:pt x="0" y="1439672"/>
                </a:cubicBezTo>
                <a:lnTo>
                  <a:pt x="0" y="270256"/>
                </a:lnTo>
                <a:close/>
              </a:path>
            </a:pathLst>
          </a:custGeom>
          <a:solidFill>
            <a:schemeClr val="tx2"/>
          </a:solidFill>
          <a:ln w="12700" cap="flat">
            <a:noFill/>
            <a:prstDash val="solid"/>
            <a:miter/>
          </a:ln>
        </p:spPr>
        <p:txBody>
          <a:bodyPr lIns="144000" tIns="144000" rIns="144000" bIns="144000" rtlCol="0" anchor="ctr"/>
          <a:lstStyle/>
          <a:p>
            <a:pPr lvl="4"/>
            <a:endParaRPr lang="en-GB" b="0" dirty="0">
              <a:solidFill>
                <a:schemeClr val="bg1"/>
              </a:solidFill>
            </a:endParaRPr>
          </a:p>
        </p:txBody>
      </p:sp>
      <p:sp>
        <p:nvSpPr>
          <p:cNvPr id="4" name="Title 3">
            <a:extLst>
              <a:ext uri="{FF2B5EF4-FFF2-40B4-BE49-F238E27FC236}">
                <a16:creationId xmlns:a16="http://schemas.microsoft.com/office/drawing/2014/main" id="{966D84E0-3914-0C2D-A642-58DCD2DED292}"/>
              </a:ext>
            </a:extLst>
          </p:cNvPr>
          <p:cNvSpPr>
            <a:spLocks noGrp="1"/>
          </p:cNvSpPr>
          <p:nvPr>
            <p:ph type="title"/>
          </p:nvPr>
        </p:nvSpPr>
        <p:spPr/>
        <p:txBody>
          <a:bodyPr/>
          <a:lstStyle/>
          <a:p>
            <a:r>
              <a:rPr lang="en-US" sz="2400" kern="1200" dirty="0" err="1"/>
              <a:t>Ciclo</a:t>
            </a:r>
            <a:r>
              <a:rPr lang="en-US" sz="2400" kern="1200" dirty="0"/>
              <a:t> de Control Actuarial</a:t>
            </a:r>
            <a:br>
              <a:rPr lang="en-US" sz="2400" kern="1200" dirty="0"/>
            </a:br>
            <a:r>
              <a:rPr lang="es-ES" sz="2400" b="0" dirty="0">
                <a:solidFill>
                  <a:srgbClr val="005192"/>
                </a:solidFill>
                <a:latin typeface="Arial" panose="020B0604020202020204" pitchFamily="34" charset="0"/>
              </a:rPr>
              <a:t>Ejemplo: Diseño de producto de seguro</a:t>
            </a:r>
            <a:endParaRPr lang="en-GB" sz="2400" dirty="0"/>
          </a:p>
        </p:txBody>
      </p:sp>
      <p:sp>
        <p:nvSpPr>
          <p:cNvPr id="2" name="Content">
            <a:extLst>
              <a:ext uri="{FF2B5EF4-FFF2-40B4-BE49-F238E27FC236}">
                <a16:creationId xmlns:a16="http://schemas.microsoft.com/office/drawing/2014/main" id="{25EAD15F-A741-C19C-9808-48B75118F518}"/>
              </a:ext>
            </a:extLst>
          </p:cNvPr>
          <p:cNvSpPr txBox="1">
            <a:spLocks/>
          </p:cNvSpPr>
          <p:nvPr>
            <p:custDataLst>
              <p:tags r:id="rId1"/>
            </p:custDataLst>
          </p:nvPr>
        </p:nvSpPr>
        <p:spPr bwMode="gray">
          <a:xfrm>
            <a:off x="513082" y="1592425"/>
            <a:ext cx="10959781" cy="517975"/>
          </a:xfrm>
          <a:prstGeom prst="rect">
            <a:avLst/>
          </a:prstGeom>
          <a:solidFill>
            <a:schemeClr val="accent1"/>
          </a:solidFill>
          <a:ln w="9525">
            <a:solidFill>
              <a:schemeClr val="accent1"/>
            </a:solidFill>
            <a:miter lim="800000"/>
            <a:headEnd/>
            <a:tailEnd/>
          </a:ln>
        </p:spPr>
        <p:txBody>
          <a:bodyPr vert="horz" wrap="square" lIns="0" tIns="71981" rIns="0" bIns="0" numCol="1" anchor="t" anchorCtr="0" compatLnSpc="1">
            <a:prstTxWarp prst="textNoShape">
              <a:avLst/>
            </a:prstTxWarp>
            <a:noAutofit/>
          </a:bodyPr>
          <a:lstStyle>
            <a:lvl1pPr marL="216000" indent="-216000" algn="l" rtl="0" fontAlgn="base">
              <a:lnSpc>
                <a:spcPct val="100000"/>
              </a:lnSpc>
              <a:spcBef>
                <a:spcPts val="600"/>
              </a:spcBef>
              <a:spcAft>
                <a:spcPts val="0"/>
              </a:spcAft>
              <a:buClr>
                <a:schemeClr val="accent2"/>
              </a:buClr>
              <a:buSzPct val="100000"/>
              <a:buFont typeface="Arial" panose="020B0604020202020204" pitchFamily="34" charset="0"/>
              <a:buChar char="•"/>
              <a:defRPr sz="1600" b="0" i="0" baseline="0">
                <a:solidFill>
                  <a:schemeClr val="tx1"/>
                </a:solidFill>
                <a:latin typeface="+mn-lt"/>
                <a:ea typeface="+mn-ea"/>
                <a:cs typeface="+mn-cs"/>
              </a:defRPr>
            </a:lvl1pPr>
            <a:lvl2pPr marL="432000" indent="-216000" algn="l" rtl="0" fontAlgn="base">
              <a:lnSpc>
                <a:spcPct val="100000"/>
              </a:lnSpc>
              <a:spcBef>
                <a:spcPts val="300"/>
              </a:spcBef>
              <a:spcAft>
                <a:spcPts val="0"/>
              </a:spcAft>
              <a:buClr>
                <a:schemeClr val="accent2"/>
              </a:buClr>
              <a:buSzPct val="100000"/>
              <a:buFont typeface="Arial" panose="020B0604020202020204" pitchFamily="34" charset="0"/>
              <a:buChar char="–"/>
              <a:defRPr sz="1600">
                <a:solidFill>
                  <a:schemeClr val="tx1"/>
                </a:solidFill>
                <a:latin typeface="+mn-lt"/>
              </a:defRPr>
            </a:lvl2pPr>
            <a:lvl3pPr marL="648000" indent="-216000" algn="l" rtl="0" fontAlgn="base">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3pPr>
            <a:lvl4pPr marL="864000" indent="-216000" algn="l" rtl="0" fontAlgn="base">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4pPr>
            <a:lvl5pPr marL="1080000" indent="-216000" algn="l" rtl="0" fontAlgn="base">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5pPr>
            <a:lvl6pPr marL="1080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6pPr>
            <a:lvl7pPr marL="1080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7pPr>
            <a:lvl8pPr marL="1080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8pPr>
            <a:lvl9pPr marL="1080000" indent="-216000"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9pPr>
          </a:lstStyle>
          <a:p>
            <a:pPr marL="0" lvl="0" indent="0" algn="ctr">
              <a:buNone/>
            </a:pPr>
            <a:r>
              <a:rPr lang="es-MX" sz="1800" dirty="0">
                <a:solidFill>
                  <a:schemeClr val="bg1"/>
                </a:solidFill>
              </a:rPr>
              <a:t>Situación : Una compañía de seguros quiere lanzar un nuevo producto.</a:t>
            </a:r>
            <a:endParaRPr lang="en-US" sz="1800" dirty="0">
              <a:solidFill>
                <a:schemeClr val="bg1"/>
              </a:solidFill>
            </a:endParaRPr>
          </a:p>
        </p:txBody>
      </p:sp>
      <p:grpSp>
        <p:nvGrpSpPr>
          <p:cNvPr id="3" name="Group 2">
            <a:extLst>
              <a:ext uri="{FF2B5EF4-FFF2-40B4-BE49-F238E27FC236}">
                <a16:creationId xmlns:a16="http://schemas.microsoft.com/office/drawing/2014/main" id="{8AA390B8-7F08-8341-08FA-C078183A20EE}"/>
              </a:ext>
            </a:extLst>
          </p:cNvPr>
          <p:cNvGrpSpPr/>
          <p:nvPr/>
        </p:nvGrpSpPr>
        <p:grpSpPr>
          <a:xfrm>
            <a:off x="830775" y="3083698"/>
            <a:ext cx="1074615" cy="892175"/>
            <a:chOff x="5278438" y="2698750"/>
            <a:chExt cx="1635125" cy="1465263"/>
          </a:xfrm>
          <a:solidFill>
            <a:schemeClr val="bg1"/>
          </a:solidFill>
        </p:grpSpPr>
        <p:sp>
          <p:nvSpPr>
            <p:cNvPr id="38" name="Freeform 5">
              <a:extLst>
                <a:ext uri="{FF2B5EF4-FFF2-40B4-BE49-F238E27FC236}">
                  <a16:creationId xmlns:a16="http://schemas.microsoft.com/office/drawing/2014/main" id="{4E286672-399B-9F61-6FFE-1564477FE144}"/>
                </a:ext>
              </a:extLst>
            </p:cNvPr>
            <p:cNvSpPr>
              <a:spLocks noEditPoints="1"/>
            </p:cNvSpPr>
            <p:nvPr/>
          </p:nvSpPr>
          <p:spPr bwMode="auto">
            <a:xfrm>
              <a:off x="5278438" y="2698750"/>
              <a:ext cx="1635125" cy="1465263"/>
            </a:xfrm>
            <a:custGeom>
              <a:avLst/>
              <a:gdLst>
                <a:gd name="T0" fmla="*/ 514 w 1030"/>
                <a:gd name="T1" fmla="*/ 165 h 923"/>
                <a:gd name="T2" fmla="*/ 891 w 1030"/>
                <a:gd name="T3" fmla="*/ 842 h 923"/>
                <a:gd name="T4" fmla="*/ 136 w 1030"/>
                <a:gd name="T5" fmla="*/ 842 h 923"/>
                <a:gd name="T6" fmla="*/ 514 w 1030"/>
                <a:gd name="T7" fmla="*/ 165 h 923"/>
                <a:gd name="T8" fmla="*/ 514 w 1030"/>
                <a:gd name="T9" fmla="*/ 0 h 923"/>
                <a:gd name="T10" fmla="*/ 0 w 1030"/>
                <a:gd name="T11" fmla="*/ 923 h 923"/>
                <a:gd name="T12" fmla="*/ 1030 w 1030"/>
                <a:gd name="T13" fmla="*/ 923 h 923"/>
                <a:gd name="T14" fmla="*/ 514 w 1030"/>
                <a:gd name="T15" fmla="*/ 0 h 9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923">
                  <a:moveTo>
                    <a:pt x="514" y="165"/>
                  </a:moveTo>
                  <a:lnTo>
                    <a:pt x="891" y="842"/>
                  </a:lnTo>
                  <a:lnTo>
                    <a:pt x="136" y="842"/>
                  </a:lnTo>
                  <a:lnTo>
                    <a:pt x="514" y="165"/>
                  </a:lnTo>
                  <a:close/>
                  <a:moveTo>
                    <a:pt x="514" y="0"/>
                  </a:moveTo>
                  <a:lnTo>
                    <a:pt x="0" y="923"/>
                  </a:lnTo>
                  <a:lnTo>
                    <a:pt x="1030" y="923"/>
                  </a:lnTo>
                  <a:lnTo>
                    <a:pt x="5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6">
              <a:extLst>
                <a:ext uri="{FF2B5EF4-FFF2-40B4-BE49-F238E27FC236}">
                  <a16:creationId xmlns:a16="http://schemas.microsoft.com/office/drawing/2014/main" id="{476FCCE2-A21D-E964-2FD7-91A841475A91}"/>
                </a:ext>
              </a:extLst>
            </p:cNvPr>
            <p:cNvSpPr>
              <a:spLocks noEditPoints="1"/>
            </p:cNvSpPr>
            <p:nvPr/>
          </p:nvSpPr>
          <p:spPr bwMode="auto">
            <a:xfrm>
              <a:off x="6021388" y="3271838"/>
              <a:ext cx="144463" cy="668338"/>
            </a:xfrm>
            <a:custGeom>
              <a:avLst/>
              <a:gdLst>
                <a:gd name="T0" fmla="*/ 38 w 38"/>
                <a:gd name="T1" fmla="*/ 156 h 176"/>
                <a:gd name="T2" fmla="*/ 33 w 38"/>
                <a:gd name="T3" fmla="*/ 170 h 176"/>
                <a:gd name="T4" fmla="*/ 19 w 38"/>
                <a:gd name="T5" fmla="*/ 176 h 176"/>
                <a:gd name="T6" fmla="*/ 5 w 38"/>
                <a:gd name="T7" fmla="*/ 170 h 176"/>
                <a:gd name="T8" fmla="*/ 0 w 38"/>
                <a:gd name="T9" fmla="*/ 156 h 176"/>
                <a:gd name="T10" fmla="*/ 5 w 38"/>
                <a:gd name="T11" fmla="*/ 143 h 176"/>
                <a:gd name="T12" fmla="*/ 19 w 38"/>
                <a:gd name="T13" fmla="*/ 137 h 176"/>
                <a:gd name="T14" fmla="*/ 33 w 38"/>
                <a:gd name="T15" fmla="*/ 143 h 176"/>
                <a:gd name="T16" fmla="*/ 38 w 38"/>
                <a:gd name="T17" fmla="*/ 156 h 176"/>
                <a:gd name="T18" fmla="*/ 31 w 38"/>
                <a:gd name="T19" fmla="*/ 123 h 176"/>
                <a:gd name="T20" fmla="*/ 7 w 38"/>
                <a:gd name="T21" fmla="*/ 123 h 176"/>
                <a:gd name="T22" fmla="*/ 2 w 38"/>
                <a:gd name="T23" fmla="*/ 0 h 176"/>
                <a:gd name="T24" fmla="*/ 36 w 38"/>
                <a:gd name="T25" fmla="*/ 0 h 176"/>
                <a:gd name="T26" fmla="*/ 31 w 38"/>
                <a:gd name="T27" fmla="*/ 1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76">
                  <a:moveTo>
                    <a:pt x="38" y="156"/>
                  </a:moveTo>
                  <a:cubicBezTo>
                    <a:pt x="38" y="162"/>
                    <a:pt x="37" y="167"/>
                    <a:pt x="33" y="170"/>
                  </a:cubicBezTo>
                  <a:cubicBezTo>
                    <a:pt x="29" y="174"/>
                    <a:pt x="25" y="176"/>
                    <a:pt x="19" y="176"/>
                  </a:cubicBezTo>
                  <a:cubicBezTo>
                    <a:pt x="14" y="176"/>
                    <a:pt x="9" y="174"/>
                    <a:pt x="5" y="170"/>
                  </a:cubicBezTo>
                  <a:cubicBezTo>
                    <a:pt x="2" y="167"/>
                    <a:pt x="0" y="162"/>
                    <a:pt x="0" y="156"/>
                  </a:cubicBezTo>
                  <a:cubicBezTo>
                    <a:pt x="0" y="151"/>
                    <a:pt x="2" y="146"/>
                    <a:pt x="5" y="143"/>
                  </a:cubicBezTo>
                  <a:cubicBezTo>
                    <a:pt x="9" y="139"/>
                    <a:pt x="14" y="137"/>
                    <a:pt x="19" y="137"/>
                  </a:cubicBezTo>
                  <a:cubicBezTo>
                    <a:pt x="25" y="137"/>
                    <a:pt x="29" y="139"/>
                    <a:pt x="33" y="143"/>
                  </a:cubicBezTo>
                  <a:cubicBezTo>
                    <a:pt x="37" y="146"/>
                    <a:pt x="38" y="151"/>
                    <a:pt x="38" y="156"/>
                  </a:cubicBezTo>
                  <a:moveTo>
                    <a:pt x="31" y="123"/>
                  </a:moveTo>
                  <a:cubicBezTo>
                    <a:pt x="7" y="123"/>
                    <a:pt x="7" y="123"/>
                    <a:pt x="7" y="123"/>
                  </a:cubicBezTo>
                  <a:cubicBezTo>
                    <a:pt x="2" y="0"/>
                    <a:pt x="2" y="0"/>
                    <a:pt x="2" y="0"/>
                  </a:cubicBezTo>
                  <a:cubicBezTo>
                    <a:pt x="36" y="0"/>
                    <a:pt x="36" y="0"/>
                    <a:pt x="36" y="0"/>
                  </a:cubicBezTo>
                  <a:lnTo>
                    <a:pt x="31"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 name="Group 4">
            <a:extLst>
              <a:ext uri="{FF2B5EF4-FFF2-40B4-BE49-F238E27FC236}">
                <a16:creationId xmlns:a16="http://schemas.microsoft.com/office/drawing/2014/main" id="{7486FC0D-497C-C4AC-6E96-C6C975263401}"/>
              </a:ext>
            </a:extLst>
          </p:cNvPr>
          <p:cNvGrpSpPr>
            <a:grpSpLocks noChangeAspect="1"/>
          </p:cNvGrpSpPr>
          <p:nvPr/>
        </p:nvGrpSpPr>
        <p:grpSpPr bwMode="auto">
          <a:xfrm>
            <a:off x="3360579" y="3012405"/>
            <a:ext cx="762000" cy="1042988"/>
            <a:chOff x="3601" y="1832"/>
            <a:chExt cx="480" cy="657"/>
          </a:xfrm>
          <a:solidFill>
            <a:schemeClr val="bg1"/>
          </a:solidFill>
        </p:grpSpPr>
        <p:sp>
          <p:nvSpPr>
            <p:cNvPr id="43" name="Freeform 5">
              <a:extLst>
                <a:ext uri="{FF2B5EF4-FFF2-40B4-BE49-F238E27FC236}">
                  <a16:creationId xmlns:a16="http://schemas.microsoft.com/office/drawing/2014/main" id="{2AD7E377-C1B5-DB38-90AD-96CCF3C0BBAE}"/>
                </a:ext>
              </a:extLst>
            </p:cNvPr>
            <p:cNvSpPr>
              <a:spLocks noEditPoints="1"/>
            </p:cNvSpPr>
            <p:nvPr/>
          </p:nvSpPr>
          <p:spPr bwMode="auto">
            <a:xfrm>
              <a:off x="3732" y="2062"/>
              <a:ext cx="218" cy="307"/>
            </a:xfrm>
            <a:custGeom>
              <a:avLst/>
              <a:gdLst>
                <a:gd name="T0" fmla="*/ 81 w 218"/>
                <a:gd name="T1" fmla="*/ 229 h 307"/>
                <a:gd name="T2" fmla="*/ 81 w 218"/>
                <a:gd name="T3" fmla="*/ 216 h 307"/>
                <a:gd name="T4" fmla="*/ 82 w 218"/>
                <a:gd name="T5" fmla="*/ 203 h 307"/>
                <a:gd name="T6" fmla="*/ 85 w 218"/>
                <a:gd name="T7" fmla="*/ 181 h 307"/>
                <a:gd name="T8" fmla="*/ 89 w 218"/>
                <a:gd name="T9" fmla="*/ 172 h 307"/>
                <a:gd name="T10" fmla="*/ 102 w 218"/>
                <a:gd name="T11" fmla="*/ 155 h 307"/>
                <a:gd name="T12" fmla="*/ 124 w 218"/>
                <a:gd name="T13" fmla="*/ 136 h 307"/>
                <a:gd name="T14" fmla="*/ 145 w 218"/>
                <a:gd name="T15" fmla="*/ 119 h 307"/>
                <a:gd name="T16" fmla="*/ 155 w 218"/>
                <a:gd name="T17" fmla="*/ 109 h 307"/>
                <a:gd name="T18" fmla="*/ 160 w 218"/>
                <a:gd name="T19" fmla="*/ 97 h 307"/>
                <a:gd name="T20" fmla="*/ 162 w 218"/>
                <a:gd name="T21" fmla="*/ 85 h 307"/>
                <a:gd name="T22" fmla="*/ 160 w 218"/>
                <a:gd name="T23" fmla="*/ 78 h 307"/>
                <a:gd name="T24" fmla="*/ 155 w 218"/>
                <a:gd name="T25" fmla="*/ 64 h 307"/>
                <a:gd name="T26" fmla="*/ 147 w 218"/>
                <a:gd name="T27" fmla="*/ 57 h 307"/>
                <a:gd name="T28" fmla="*/ 131 w 218"/>
                <a:gd name="T29" fmla="*/ 48 h 307"/>
                <a:gd name="T30" fmla="*/ 111 w 218"/>
                <a:gd name="T31" fmla="*/ 45 h 307"/>
                <a:gd name="T32" fmla="*/ 101 w 218"/>
                <a:gd name="T33" fmla="*/ 45 h 307"/>
                <a:gd name="T34" fmla="*/ 82 w 218"/>
                <a:gd name="T35" fmla="*/ 52 h 307"/>
                <a:gd name="T36" fmla="*/ 75 w 218"/>
                <a:gd name="T37" fmla="*/ 58 h 307"/>
                <a:gd name="T38" fmla="*/ 62 w 218"/>
                <a:gd name="T39" fmla="*/ 74 h 307"/>
                <a:gd name="T40" fmla="*/ 53 w 218"/>
                <a:gd name="T41" fmla="*/ 96 h 307"/>
                <a:gd name="T42" fmla="*/ 0 w 218"/>
                <a:gd name="T43" fmla="*/ 90 h 307"/>
                <a:gd name="T44" fmla="*/ 2 w 218"/>
                <a:gd name="T45" fmla="*/ 71 h 307"/>
                <a:gd name="T46" fmla="*/ 10 w 218"/>
                <a:gd name="T47" fmla="*/ 55 h 307"/>
                <a:gd name="T48" fmla="*/ 18 w 218"/>
                <a:gd name="T49" fmla="*/ 39 h 307"/>
                <a:gd name="T50" fmla="*/ 31 w 218"/>
                <a:gd name="T51" fmla="*/ 26 h 307"/>
                <a:gd name="T52" fmla="*/ 47 w 218"/>
                <a:gd name="T53" fmla="*/ 15 h 307"/>
                <a:gd name="T54" fmla="*/ 66 w 218"/>
                <a:gd name="T55" fmla="*/ 7 h 307"/>
                <a:gd name="T56" fmla="*/ 87 w 218"/>
                <a:gd name="T57" fmla="*/ 2 h 307"/>
                <a:gd name="T58" fmla="*/ 108 w 218"/>
                <a:gd name="T59" fmla="*/ 0 h 307"/>
                <a:gd name="T60" fmla="*/ 145 w 218"/>
                <a:gd name="T61" fmla="*/ 4 h 307"/>
                <a:gd name="T62" fmla="*/ 163 w 218"/>
                <a:gd name="T63" fmla="*/ 10 h 307"/>
                <a:gd name="T64" fmla="*/ 181 w 218"/>
                <a:gd name="T65" fmla="*/ 20 h 307"/>
                <a:gd name="T66" fmla="*/ 189 w 218"/>
                <a:gd name="T67" fmla="*/ 26 h 307"/>
                <a:gd name="T68" fmla="*/ 207 w 218"/>
                <a:gd name="T69" fmla="*/ 48 h 307"/>
                <a:gd name="T70" fmla="*/ 214 w 218"/>
                <a:gd name="T71" fmla="*/ 62 h 307"/>
                <a:gd name="T72" fmla="*/ 218 w 218"/>
                <a:gd name="T73" fmla="*/ 78 h 307"/>
                <a:gd name="T74" fmla="*/ 218 w 218"/>
                <a:gd name="T75" fmla="*/ 87 h 307"/>
                <a:gd name="T76" fmla="*/ 216 w 218"/>
                <a:gd name="T77" fmla="*/ 106 h 307"/>
                <a:gd name="T78" fmla="*/ 208 w 218"/>
                <a:gd name="T79" fmla="*/ 125 h 307"/>
                <a:gd name="T80" fmla="*/ 201 w 218"/>
                <a:gd name="T81" fmla="*/ 133 h 307"/>
                <a:gd name="T82" fmla="*/ 178 w 218"/>
                <a:gd name="T83" fmla="*/ 156 h 307"/>
                <a:gd name="T84" fmla="*/ 160 w 218"/>
                <a:gd name="T85" fmla="*/ 171 h 307"/>
                <a:gd name="T86" fmla="*/ 142 w 218"/>
                <a:gd name="T87" fmla="*/ 191 h 307"/>
                <a:gd name="T88" fmla="*/ 139 w 218"/>
                <a:gd name="T89" fmla="*/ 195 h 307"/>
                <a:gd name="T90" fmla="*/ 134 w 218"/>
                <a:gd name="T91" fmla="*/ 208 h 307"/>
                <a:gd name="T92" fmla="*/ 134 w 218"/>
                <a:gd name="T93" fmla="*/ 229 h 307"/>
                <a:gd name="T94" fmla="*/ 81 w 218"/>
                <a:gd name="T95" fmla="*/ 249 h 307"/>
                <a:gd name="T96" fmla="*/ 140 w 218"/>
                <a:gd name="T9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 h="307">
                  <a:moveTo>
                    <a:pt x="134" y="229"/>
                  </a:moveTo>
                  <a:lnTo>
                    <a:pt x="81" y="229"/>
                  </a:lnTo>
                  <a:lnTo>
                    <a:pt x="81" y="229"/>
                  </a:lnTo>
                  <a:lnTo>
                    <a:pt x="81" y="216"/>
                  </a:lnTo>
                  <a:lnTo>
                    <a:pt x="81" y="216"/>
                  </a:lnTo>
                  <a:lnTo>
                    <a:pt x="82" y="203"/>
                  </a:lnTo>
                  <a:lnTo>
                    <a:pt x="84" y="191"/>
                  </a:lnTo>
                  <a:lnTo>
                    <a:pt x="85" y="181"/>
                  </a:lnTo>
                  <a:lnTo>
                    <a:pt x="89" y="172"/>
                  </a:lnTo>
                  <a:lnTo>
                    <a:pt x="89" y="172"/>
                  </a:lnTo>
                  <a:lnTo>
                    <a:pt x="95" y="164"/>
                  </a:lnTo>
                  <a:lnTo>
                    <a:pt x="102" y="155"/>
                  </a:lnTo>
                  <a:lnTo>
                    <a:pt x="111" y="145"/>
                  </a:lnTo>
                  <a:lnTo>
                    <a:pt x="124" y="136"/>
                  </a:lnTo>
                  <a:lnTo>
                    <a:pt x="124" y="136"/>
                  </a:lnTo>
                  <a:lnTo>
                    <a:pt x="145" y="119"/>
                  </a:lnTo>
                  <a:lnTo>
                    <a:pt x="155" y="109"/>
                  </a:lnTo>
                  <a:lnTo>
                    <a:pt x="155" y="109"/>
                  </a:lnTo>
                  <a:lnTo>
                    <a:pt x="158" y="103"/>
                  </a:lnTo>
                  <a:lnTo>
                    <a:pt x="160" y="97"/>
                  </a:lnTo>
                  <a:lnTo>
                    <a:pt x="162" y="91"/>
                  </a:lnTo>
                  <a:lnTo>
                    <a:pt x="162" y="85"/>
                  </a:lnTo>
                  <a:lnTo>
                    <a:pt x="162" y="85"/>
                  </a:lnTo>
                  <a:lnTo>
                    <a:pt x="160" y="78"/>
                  </a:lnTo>
                  <a:lnTo>
                    <a:pt x="159" y="70"/>
                  </a:lnTo>
                  <a:lnTo>
                    <a:pt x="155" y="64"/>
                  </a:lnTo>
                  <a:lnTo>
                    <a:pt x="147" y="57"/>
                  </a:lnTo>
                  <a:lnTo>
                    <a:pt x="147" y="57"/>
                  </a:lnTo>
                  <a:lnTo>
                    <a:pt x="140" y="51"/>
                  </a:lnTo>
                  <a:lnTo>
                    <a:pt x="131" y="48"/>
                  </a:lnTo>
                  <a:lnTo>
                    <a:pt x="123" y="45"/>
                  </a:lnTo>
                  <a:lnTo>
                    <a:pt x="111" y="45"/>
                  </a:lnTo>
                  <a:lnTo>
                    <a:pt x="111" y="45"/>
                  </a:lnTo>
                  <a:lnTo>
                    <a:pt x="101" y="45"/>
                  </a:lnTo>
                  <a:lnTo>
                    <a:pt x="91" y="48"/>
                  </a:lnTo>
                  <a:lnTo>
                    <a:pt x="82" y="52"/>
                  </a:lnTo>
                  <a:lnTo>
                    <a:pt x="75" y="58"/>
                  </a:lnTo>
                  <a:lnTo>
                    <a:pt x="75" y="58"/>
                  </a:lnTo>
                  <a:lnTo>
                    <a:pt x="68" y="64"/>
                  </a:lnTo>
                  <a:lnTo>
                    <a:pt x="62" y="74"/>
                  </a:lnTo>
                  <a:lnTo>
                    <a:pt x="58" y="84"/>
                  </a:lnTo>
                  <a:lnTo>
                    <a:pt x="53" y="96"/>
                  </a:lnTo>
                  <a:lnTo>
                    <a:pt x="0" y="90"/>
                  </a:lnTo>
                  <a:lnTo>
                    <a:pt x="0" y="90"/>
                  </a:lnTo>
                  <a:lnTo>
                    <a:pt x="1" y="80"/>
                  </a:lnTo>
                  <a:lnTo>
                    <a:pt x="2" y="71"/>
                  </a:lnTo>
                  <a:lnTo>
                    <a:pt x="5" y="62"/>
                  </a:lnTo>
                  <a:lnTo>
                    <a:pt x="10" y="55"/>
                  </a:lnTo>
                  <a:lnTo>
                    <a:pt x="14" y="48"/>
                  </a:lnTo>
                  <a:lnTo>
                    <a:pt x="18" y="39"/>
                  </a:lnTo>
                  <a:lnTo>
                    <a:pt x="31" y="26"/>
                  </a:lnTo>
                  <a:lnTo>
                    <a:pt x="31" y="26"/>
                  </a:lnTo>
                  <a:lnTo>
                    <a:pt x="40" y="20"/>
                  </a:lnTo>
                  <a:lnTo>
                    <a:pt x="47" y="15"/>
                  </a:lnTo>
                  <a:lnTo>
                    <a:pt x="56" y="10"/>
                  </a:lnTo>
                  <a:lnTo>
                    <a:pt x="66" y="7"/>
                  </a:lnTo>
                  <a:lnTo>
                    <a:pt x="76" y="4"/>
                  </a:lnTo>
                  <a:lnTo>
                    <a:pt x="87" y="2"/>
                  </a:lnTo>
                  <a:lnTo>
                    <a:pt x="108" y="0"/>
                  </a:lnTo>
                  <a:lnTo>
                    <a:pt x="108" y="0"/>
                  </a:lnTo>
                  <a:lnTo>
                    <a:pt x="133" y="2"/>
                  </a:lnTo>
                  <a:lnTo>
                    <a:pt x="145" y="4"/>
                  </a:lnTo>
                  <a:lnTo>
                    <a:pt x="155" y="7"/>
                  </a:lnTo>
                  <a:lnTo>
                    <a:pt x="163" y="10"/>
                  </a:lnTo>
                  <a:lnTo>
                    <a:pt x="174" y="15"/>
                  </a:lnTo>
                  <a:lnTo>
                    <a:pt x="181" y="20"/>
                  </a:lnTo>
                  <a:lnTo>
                    <a:pt x="189" y="26"/>
                  </a:lnTo>
                  <a:lnTo>
                    <a:pt x="189" y="26"/>
                  </a:lnTo>
                  <a:lnTo>
                    <a:pt x="203" y="41"/>
                  </a:lnTo>
                  <a:lnTo>
                    <a:pt x="207" y="48"/>
                  </a:lnTo>
                  <a:lnTo>
                    <a:pt x="211" y="55"/>
                  </a:lnTo>
                  <a:lnTo>
                    <a:pt x="214" y="62"/>
                  </a:lnTo>
                  <a:lnTo>
                    <a:pt x="217" y="71"/>
                  </a:lnTo>
                  <a:lnTo>
                    <a:pt x="218" y="78"/>
                  </a:lnTo>
                  <a:lnTo>
                    <a:pt x="218" y="87"/>
                  </a:lnTo>
                  <a:lnTo>
                    <a:pt x="218" y="87"/>
                  </a:lnTo>
                  <a:lnTo>
                    <a:pt x="218" y="97"/>
                  </a:lnTo>
                  <a:lnTo>
                    <a:pt x="216" y="106"/>
                  </a:lnTo>
                  <a:lnTo>
                    <a:pt x="213" y="116"/>
                  </a:lnTo>
                  <a:lnTo>
                    <a:pt x="208" y="125"/>
                  </a:lnTo>
                  <a:lnTo>
                    <a:pt x="208" y="125"/>
                  </a:lnTo>
                  <a:lnTo>
                    <a:pt x="201" y="133"/>
                  </a:lnTo>
                  <a:lnTo>
                    <a:pt x="191" y="145"/>
                  </a:lnTo>
                  <a:lnTo>
                    <a:pt x="178" y="156"/>
                  </a:lnTo>
                  <a:lnTo>
                    <a:pt x="160" y="171"/>
                  </a:lnTo>
                  <a:lnTo>
                    <a:pt x="160" y="171"/>
                  </a:lnTo>
                  <a:lnTo>
                    <a:pt x="146" y="185"/>
                  </a:lnTo>
                  <a:lnTo>
                    <a:pt x="142" y="191"/>
                  </a:lnTo>
                  <a:lnTo>
                    <a:pt x="139" y="195"/>
                  </a:lnTo>
                  <a:lnTo>
                    <a:pt x="139" y="195"/>
                  </a:lnTo>
                  <a:lnTo>
                    <a:pt x="136" y="201"/>
                  </a:lnTo>
                  <a:lnTo>
                    <a:pt x="134" y="208"/>
                  </a:lnTo>
                  <a:lnTo>
                    <a:pt x="134" y="229"/>
                  </a:lnTo>
                  <a:lnTo>
                    <a:pt x="134" y="229"/>
                  </a:lnTo>
                  <a:close/>
                  <a:moveTo>
                    <a:pt x="81" y="307"/>
                  </a:moveTo>
                  <a:lnTo>
                    <a:pt x="81" y="249"/>
                  </a:lnTo>
                  <a:lnTo>
                    <a:pt x="140" y="249"/>
                  </a:lnTo>
                  <a:lnTo>
                    <a:pt x="140" y="307"/>
                  </a:lnTo>
                  <a:lnTo>
                    <a:pt x="81"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6">
              <a:extLst>
                <a:ext uri="{FF2B5EF4-FFF2-40B4-BE49-F238E27FC236}">
                  <a16:creationId xmlns:a16="http://schemas.microsoft.com/office/drawing/2014/main" id="{03B89B9E-B3D9-379F-4F34-E17870E48FC8}"/>
                </a:ext>
              </a:extLst>
            </p:cNvPr>
            <p:cNvSpPr>
              <a:spLocks noEditPoints="1"/>
            </p:cNvSpPr>
            <p:nvPr/>
          </p:nvSpPr>
          <p:spPr bwMode="auto">
            <a:xfrm>
              <a:off x="3601" y="1832"/>
              <a:ext cx="480" cy="657"/>
            </a:xfrm>
            <a:custGeom>
              <a:avLst/>
              <a:gdLst>
                <a:gd name="T0" fmla="*/ 115 w 480"/>
                <a:gd name="T1" fmla="*/ 0 h 657"/>
                <a:gd name="T2" fmla="*/ 0 w 480"/>
                <a:gd name="T3" fmla="*/ 114 h 657"/>
                <a:gd name="T4" fmla="*/ 0 w 480"/>
                <a:gd name="T5" fmla="*/ 657 h 657"/>
                <a:gd name="T6" fmla="*/ 480 w 480"/>
                <a:gd name="T7" fmla="*/ 657 h 657"/>
                <a:gd name="T8" fmla="*/ 480 w 480"/>
                <a:gd name="T9" fmla="*/ 0 h 657"/>
                <a:gd name="T10" fmla="*/ 115 w 480"/>
                <a:gd name="T11" fmla="*/ 0 h 657"/>
                <a:gd name="T12" fmla="*/ 435 w 480"/>
                <a:gd name="T13" fmla="*/ 612 h 657"/>
                <a:gd name="T14" fmla="*/ 45 w 480"/>
                <a:gd name="T15" fmla="*/ 612 h 657"/>
                <a:gd name="T16" fmla="*/ 45 w 480"/>
                <a:gd name="T17" fmla="*/ 156 h 657"/>
                <a:gd name="T18" fmla="*/ 157 w 480"/>
                <a:gd name="T19" fmla="*/ 156 h 657"/>
                <a:gd name="T20" fmla="*/ 157 w 480"/>
                <a:gd name="T21" fmla="*/ 45 h 657"/>
                <a:gd name="T22" fmla="*/ 435 w 480"/>
                <a:gd name="T23" fmla="*/ 45 h 657"/>
                <a:gd name="T24" fmla="*/ 435 w 480"/>
                <a:gd name="T25" fmla="*/ 61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657">
                  <a:moveTo>
                    <a:pt x="115" y="0"/>
                  </a:moveTo>
                  <a:lnTo>
                    <a:pt x="0" y="114"/>
                  </a:lnTo>
                  <a:lnTo>
                    <a:pt x="0" y="657"/>
                  </a:lnTo>
                  <a:lnTo>
                    <a:pt x="480" y="657"/>
                  </a:lnTo>
                  <a:lnTo>
                    <a:pt x="480" y="0"/>
                  </a:lnTo>
                  <a:lnTo>
                    <a:pt x="115" y="0"/>
                  </a:lnTo>
                  <a:close/>
                  <a:moveTo>
                    <a:pt x="435" y="612"/>
                  </a:moveTo>
                  <a:lnTo>
                    <a:pt x="45" y="612"/>
                  </a:lnTo>
                  <a:lnTo>
                    <a:pt x="45" y="156"/>
                  </a:lnTo>
                  <a:lnTo>
                    <a:pt x="157" y="156"/>
                  </a:lnTo>
                  <a:lnTo>
                    <a:pt x="157" y="45"/>
                  </a:lnTo>
                  <a:lnTo>
                    <a:pt x="435" y="45"/>
                  </a:lnTo>
                  <a:lnTo>
                    <a:pt x="435"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 name="Group 4">
            <a:extLst>
              <a:ext uri="{FF2B5EF4-FFF2-40B4-BE49-F238E27FC236}">
                <a16:creationId xmlns:a16="http://schemas.microsoft.com/office/drawing/2014/main" id="{8A4A5C17-63B7-B3B9-F3EC-D70D3B7EE609}"/>
              </a:ext>
            </a:extLst>
          </p:cNvPr>
          <p:cNvGrpSpPr>
            <a:grpSpLocks noChangeAspect="1"/>
          </p:cNvGrpSpPr>
          <p:nvPr/>
        </p:nvGrpSpPr>
        <p:grpSpPr bwMode="auto">
          <a:xfrm>
            <a:off x="5716588" y="3015580"/>
            <a:ext cx="762000" cy="1036638"/>
            <a:chOff x="3601" y="1834"/>
            <a:chExt cx="480" cy="653"/>
          </a:xfrm>
          <a:solidFill>
            <a:schemeClr val="bg1"/>
          </a:solidFill>
        </p:grpSpPr>
        <p:sp>
          <p:nvSpPr>
            <p:cNvPr id="46" name="Freeform 5">
              <a:extLst>
                <a:ext uri="{FF2B5EF4-FFF2-40B4-BE49-F238E27FC236}">
                  <a16:creationId xmlns:a16="http://schemas.microsoft.com/office/drawing/2014/main" id="{ADE47050-9BC2-9B6A-E68F-6A735A917393}"/>
                </a:ext>
              </a:extLst>
            </p:cNvPr>
            <p:cNvSpPr>
              <a:spLocks noEditPoints="1"/>
            </p:cNvSpPr>
            <p:nvPr/>
          </p:nvSpPr>
          <p:spPr bwMode="auto">
            <a:xfrm>
              <a:off x="3601" y="1834"/>
              <a:ext cx="480" cy="653"/>
            </a:xfrm>
            <a:custGeom>
              <a:avLst/>
              <a:gdLst>
                <a:gd name="T0" fmla="*/ 115 w 480"/>
                <a:gd name="T1" fmla="*/ 0 h 653"/>
                <a:gd name="T2" fmla="*/ 0 w 480"/>
                <a:gd name="T3" fmla="*/ 112 h 653"/>
                <a:gd name="T4" fmla="*/ 0 w 480"/>
                <a:gd name="T5" fmla="*/ 653 h 653"/>
                <a:gd name="T6" fmla="*/ 480 w 480"/>
                <a:gd name="T7" fmla="*/ 653 h 653"/>
                <a:gd name="T8" fmla="*/ 480 w 480"/>
                <a:gd name="T9" fmla="*/ 0 h 653"/>
                <a:gd name="T10" fmla="*/ 115 w 480"/>
                <a:gd name="T11" fmla="*/ 0 h 653"/>
                <a:gd name="T12" fmla="*/ 435 w 480"/>
                <a:gd name="T13" fmla="*/ 608 h 653"/>
                <a:gd name="T14" fmla="*/ 45 w 480"/>
                <a:gd name="T15" fmla="*/ 608 h 653"/>
                <a:gd name="T16" fmla="*/ 45 w 480"/>
                <a:gd name="T17" fmla="*/ 154 h 653"/>
                <a:gd name="T18" fmla="*/ 157 w 480"/>
                <a:gd name="T19" fmla="*/ 154 h 653"/>
                <a:gd name="T20" fmla="*/ 157 w 480"/>
                <a:gd name="T21" fmla="*/ 45 h 653"/>
                <a:gd name="T22" fmla="*/ 435 w 480"/>
                <a:gd name="T23" fmla="*/ 45 h 653"/>
                <a:gd name="T24" fmla="*/ 435 w 480"/>
                <a:gd name="T25" fmla="*/ 608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653">
                  <a:moveTo>
                    <a:pt x="115" y="0"/>
                  </a:moveTo>
                  <a:lnTo>
                    <a:pt x="0" y="112"/>
                  </a:lnTo>
                  <a:lnTo>
                    <a:pt x="0" y="653"/>
                  </a:lnTo>
                  <a:lnTo>
                    <a:pt x="480" y="653"/>
                  </a:lnTo>
                  <a:lnTo>
                    <a:pt x="480" y="0"/>
                  </a:lnTo>
                  <a:lnTo>
                    <a:pt x="115" y="0"/>
                  </a:lnTo>
                  <a:close/>
                  <a:moveTo>
                    <a:pt x="435" y="608"/>
                  </a:moveTo>
                  <a:lnTo>
                    <a:pt x="45" y="608"/>
                  </a:lnTo>
                  <a:lnTo>
                    <a:pt x="45" y="154"/>
                  </a:lnTo>
                  <a:lnTo>
                    <a:pt x="157" y="154"/>
                  </a:lnTo>
                  <a:lnTo>
                    <a:pt x="157" y="45"/>
                  </a:lnTo>
                  <a:lnTo>
                    <a:pt x="435" y="45"/>
                  </a:lnTo>
                  <a:lnTo>
                    <a:pt x="435" y="6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6">
              <a:extLst>
                <a:ext uri="{FF2B5EF4-FFF2-40B4-BE49-F238E27FC236}">
                  <a16:creationId xmlns:a16="http://schemas.microsoft.com/office/drawing/2014/main" id="{95846D97-ACD8-ED8D-0969-25E7C4076191}"/>
                </a:ext>
              </a:extLst>
            </p:cNvPr>
            <p:cNvSpPr>
              <a:spLocks/>
            </p:cNvSpPr>
            <p:nvPr/>
          </p:nvSpPr>
          <p:spPr bwMode="auto">
            <a:xfrm>
              <a:off x="3758" y="2026"/>
              <a:ext cx="206" cy="114"/>
            </a:xfrm>
            <a:custGeom>
              <a:avLst/>
              <a:gdLst>
                <a:gd name="T0" fmla="*/ 17 w 206"/>
                <a:gd name="T1" fmla="*/ 65 h 114"/>
                <a:gd name="T2" fmla="*/ 171 w 206"/>
                <a:gd name="T3" fmla="*/ 65 h 114"/>
                <a:gd name="T4" fmla="*/ 171 w 206"/>
                <a:gd name="T5" fmla="*/ 47 h 114"/>
                <a:gd name="T6" fmla="*/ 17 w 206"/>
                <a:gd name="T7" fmla="*/ 47 h 114"/>
                <a:gd name="T8" fmla="*/ 17 w 206"/>
                <a:gd name="T9" fmla="*/ 17 h 114"/>
                <a:gd name="T10" fmla="*/ 200 w 206"/>
                <a:gd name="T11" fmla="*/ 17 h 114"/>
                <a:gd name="T12" fmla="*/ 200 w 206"/>
                <a:gd name="T13" fmla="*/ 0 h 114"/>
                <a:gd name="T14" fmla="*/ 0 w 206"/>
                <a:gd name="T15" fmla="*/ 0 h 114"/>
                <a:gd name="T16" fmla="*/ 0 w 206"/>
                <a:gd name="T17" fmla="*/ 8 h 114"/>
                <a:gd name="T18" fmla="*/ 0 w 206"/>
                <a:gd name="T19" fmla="*/ 8 h 114"/>
                <a:gd name="T20" fmla="*/ 0 w 206"/>
                <a:gd name="T21" fmla="*/ 105 h 114"/>
                <a:gd name="T22" fmla="*/ 0 w 206"/>
                <a:gd name="T23" fmla="*/ 105 h 114"/>
                <a:gd name="T24" fmla="*/ 0 w 206"/>
                <a:gd name="T25" fmla="*/ 114 h 114"/>
                <a:gd name="T26" fmla="*/ 206 w 206"/>
                <a:gd name="T27" fmla="*/ 114 h 114"/>
                <a:gd name="T28" fmla="*/ 206 w 206"/>
                <a:gd name="T29" fmla="*/ 96 h 114"/>
                <a:gd name="T30" fmla="*/ 17 w 206"/>
                <a:gd name="T31" fmla="*/ 96 h 114"/>
                <a:gd name="T32" fmla="*/ 17 w 206"/>
                <a:gd name="T33"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14">
                  <a:moveTo>
                    <a:pt x="17" y="65"/>
                  </a:moveTo>
                  <a:lnTo>
                    <a:pt x="171" y="65"/>
                  </a:lnTo>
                  <a:lnTo>
                    <a:pt x="171" y="47"/>
                  </a:lnTo>
                  <a:lnTo>
                    <a:pt x="17" y="47"/>
                  </a:lnTo>
                  <a:lnTo>
                    <a:pt x="17" y="17"/>
                  </a:lnTo>
                  <a:lnTo>
                    <a:pt x="200" y="17"/>
                  </a:lnTo>
                  <a:lnTo>
                    <a:pt x="200" y="0"/>
                  </a:lnTo>
                  <a:lnTo>
                    <a:pt x="0" y="0"/>
                  </a:lnTo>
                  <a:lnTo>
                    <a:pt x="0" y="8"/>
                  </a:lnTo>
                  <a:lnTo>
                    <a:pt x="0" y="8"/>
                  </a:lnTo>
                  <a:lnTo>
                    <a:pt x="0" y="105"/>
                  </a:lnTo>
                  <a:lnTo>
                    <a:pt x="0" y="105"/>
                  </a:lnTo>
                  <a:lnTo>
                    <a:pt x="0" y="114"/>
                  </a:lnTo>
                  <a:lnTo>
                    <a:pt x="206" y="114"/>
                  </a:lnTo>
                  <a:lnTo>
                    <a:pt x="206" y="96"/>
                  </a:lnTo>
                  <a:lnTo>
                    <a:pt x="17" y="96"/>
                  </a:lnTo>
                  <a:lnTo>
                    <a:pt x="1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7">
              <a:extLst>
                <a:ext uri="{FF2B5EF4-FFF2-40B4-BE49-F238E27FC236}">
                  <a16:creationId xmlns:a16="http://schemas.microsoft.com/office/drawing/2014/main" id="{3FF168FF-6352-7516-9F78-B8667D518E38}"/>
                </a:ext>
              </a:extLst>
            </p:cNvPr>
            <p:cNvSpPr>
              <a:spLocks noEditPoints="1"/>
            </p:cNvSpPr>
            <p:nvPr/>
          </p:nvSpPr>
          <p:spPr bwMode="auto">
            <a:xfrm>
              <a:off x="3707" y="2246"/>
              <a:ext cx="265" cy="103"/>
            </a:xfrm>
            <a:custGeom>
              <a:avLst/>
              <a:gdLst>
                <a:gd name="T0" fmla="*/ 228 w 265"/>
                <a:gd name="T1" fmla="*/ 48 h 103"/>
                <a:gd name="T2" fmla="*/ 225 w 265"/>
                <a:gd name="T3" fmla="*/ 28 h 103"/>
                <a:gd name="T4" fmla="*/ 216 w 265"/>
                <a:gd name="T5" fmla="*/ 16 h 103"/>
                <a:gd name="T6" fmla="*/ 206 w 265"/>
                <a:gd name="T7" fmla="*/ 13 h 103"/>
                <a:gd name="T8" fmla="*/ 194 w 265"/>
                <a:gd name="T9" fmla="*/ 19 h 103"/>
                <a:gd name="T10" fmla="*/ 183 w 265"/>
                <a:gd name="T11" fmla="*/ 35 h 103"/>
                <a:gd name="T12" fmla="*/ 181 w 265"/>
                <a:gd name="T13" fmla="*/ 45 h 103"/>
                <a:gd name="T14" fmla="*/ 184 w 265"/>
                <a:gd name="T15" fmla="*/ 54 h 103"/>
                <a:gd name="T16" fmla="*/ 199 w 265"/>
                <a:gd name="T17" fmla="*/ 67 h 103"/>
                <a:gd name="T18" fmla="*/ 172 w 265"/>
                <a:gd name="T19" fmla="*/ 69 h 103"/>
                <a:gd name="T20" fmla="*/ 151 w 265"/>
                <a:gd name="T21" fmla="*/ 65 h 103"/>
                <a:gd name="T22" fmla="*/ 148 w 265"/>
                <a:gd name="T23" fmla="*/ 52 h 103"/>
                <a:gd name="T24" fmla="*/ 156 w 265"/>
                <a:gd name="T25" fmla="*/ 29 h 103"/>
                <a:gd name="T26" fmla="*/ 155 w 265"/>
                <a:gd name="T27" fmla="*/ 9 h 103"/>
                <a:gd name="T28" fmla="*/ 148 w 265"/>
                <a:gd name="T29" fmla="*/ 3 h 103"/>
                <a:gd name="T30" fmla="*/ 133 w 265"/>
                <a:gd name="T31" fmla="*/ 5 h 103"/>
                <a:gd name="T32" fmla="*/ 119 w 265"/>
                <a:gd name="T33" fmla="*/ 19 h 103"/>
                <a:gd name="T34" fmla="*/ 112 w 265"/>
                <a:gd name="T35" fmla="*/ 39 h 103"/>
                <a:gd name="T36" fmla="*/ 114 w 265"/>
                <a:gd name="T37" fmla="*/ 55 h 103"/>
                <a:gd name="T38" fmla="*/ 110 w 265"/>
                <a:gd name="T39" fmla="*/ 62 h 103"/>
                <a:gd name="T40" fmla="*/ 97 w 265"/>
                <a:gd name="T41" fmla="*/ 65 h 103"/>
                <a:gd name="T42" fmla="*/ 81 w 265"/>
                <a:gd name="T43" fmla="*/ 59 h 103"/>
                <a:gd name="T44" fmla="*/ 100 w 265"/>
                <a:gd name="T45" fmla="*/ 23 h 103"/>
                <a:gd name="T46" fmla="*/ 100 w 265"/>
                <a:gd name="T47" fmla="*/ 7 h 103"/>
                <a:gd name="T48" fmla="*/ 96 w 265"/>
                <a:gd name="T49" fmla="*/ 2 h 103"/>
                <a:gd name="T50" fmla="*/ 88 w 265"/>
                <a:gd name="T51" fmla="*/ 0 h 103"/>
                <a:gd name="T52" fmla="*/ 71 w 265"/>
                <a:gd name="T53" fmla="*/ 7 h 103"/>
                <a:gd name="T54" fmla="*/ 58 w 265"/>
                <a:gd name="T55" fmla="*/ 25 h 103"/>
                <a:gd name="T56" fmla="*/ 56 w 265"/>
                <a:gd name="T57" fmla="*/ 52 h 103"/>
                <a:gd name="T58" fmla="*/ 59 w 265"/>
                <a:gd name="T59" fmla="*/ 59 h 103"/>
                <a:gd name="T60" fmla="*/ 42 w 265"/>
                <a:gd name="T61" fmla="*/ 77 h 103"/>
                <a:gd name="T62" fmla="*/ 14 w 265"/>
                <a:gd name="T63" fmla="*/ 85 h 103"/>
                <a:gd name="T64" fmla="*/ 0 w 265"/>
                <a:gd name="T65" fmla="*/ 94 h 103"/>
                <a:gd name="T66" fmla="*/ 6 w 265"/>
                <a:gd name="T67" fmla="*/ 103 h 103"/>
                <a:gd name="T68" fmla="*/ 26 w 265"/>
                <a:gd name="T69" fmla="*/ 101 h 103"/>
                <a:gd name="T70" fmla="*/ 54 w 265"/>
                <a:gd name="T71" fmla="*/ 90 h 103"/>
                <a:gd name="T72" fmla="*/ 71 w 265"/>
                <a:gd name="T73" fmla="*/ 72 h 103"/>
                <a:gd name="T74" fmla="*/ 97 w 265"/>
                <a:gd name="T75" fmla="*/ 82 h 103"/>
                <a:gd name="T76" fmla="*/ 117 w 265"/>
                <a:gd name="T77" fmla="*/ 78 h 103"/>
                <a:gd name="T78" fmla="*/ 136 w 265"/>
                <a:gd name="T79" fmla="*/ 78 h 103"/>
                <a:gd name="T80" fmla="*/ 162 w 265"/>
                <a:gd name="T81" fmla="*/ 85 h 103"/>
                <a:gd name="T82" fmla="*/ 194 w 265"/>
                <a:gd name="T83" fmla="*/ 85 h 103"/>
                <a:gd name="T84" fmla="*/ 209 w 265"/>
                <a:gd name="T85" fmla="*/ 81 h 103"/>
                <a:gd name="T86" fmla="*/ 232 w 265"/>
                <a:gd name="T87" fmla="*/ 78 h 103"/>
                <a:gd name="T88" fmla="*/ 265 w 265"/>
                <a:gd name="T89" fmla="*/ 65 h 103"/>
                <a:gd name="T90" fmla="*/ 225 w 265"/>
                <a:gd name="T91" fmla="*/ 58 h 103"/>
                <a:gd name="T92" fmla="*/ 226 w 265"/>
                <a:gd name="T93" fmla="*/ 56 h 103"/>
                <a:gd name="T94" fmla="*/ 78 w 265"/>
                <a:gd name="T95" fmla="*/ 25 h 103"/>
                <a:gd name="T96" fmla="*/ 80 w 265"/>
                <a:gd name="T97" fmla="*/ 28 h 103"/>
                <a:gd name="T98" fmla="*/ 72 w 265"/>
                <a:gd name="T99" fmla="*/ 36 h 103"/>
                <a:gd name="T100" fmla="*/ 138 w 265"/>
                <a:gd name="T101" fmla="*/ 35 h 103"/>
                <a:gd name="T102" fmla="*/ 130 w 265"/>
                <a:gd name="T103" fmla="*/ 48 h 103"/>
                <a:gd name="T104" fmla="*/ 129 w 265"/>
                <a:gd name="T105" fmla="*/ 38 h 103"/>
                <a:gd name="T106" fmla="*/ 133 w 265"/>
                <a:gd name="T107" fmla="*/ 28 h 103"/>
                <a:gd name="T108" fmla="*/ 141 w 265"/>
                <a:gd name="T109" fmla="*/ 20 h 103"/>
                <a:gd name="T110" fmla="*/ 138 w 265"/>
                <a:gd name="T111" fmla="*/ 35 h 103"/>
                <a:gd name="T112" fmla="*/ 203 w 265"/>
                <a:gd name="T113" fmla="*/ 49 h 103"/>
                <a:gd name="T114" fmla="*/ 199 w 265"/>
                <a:gd name="T115" fmla="*/ 44 h 103"/>
                <a:gd name="T116" fmla="*/ 201 w 265"/>
                <a:gd name="T117" fmla="*/ 36 h 103"/>
                <a:gd name="T118" fmla="*/ 207 w 265"/>
                <a:gd name="T119" fmla="*/ 31 h 103"/>
                <a:gd name="T120" fmla="*/ 210 w 265"/>
                <a:gd name="T121" fmla="*/ 4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103">
                  <a:moveTo>
                    <a:pt x="226" y="56"/>
                  </a:moveTo>
                  <a:lnTo>
                    <a:pt x="226" y="56"/>
                  </a:lnTo>
                  <a:lnTo>
                    <a:pt x="228" y="48"/>
                  </a:lnTo>
                  <a:lnTo>
                    <a:pt x="228" y="41"/>
                  </a:lnTo>
                  <a:lnTo>
                    <a:pt x="226" y="33"/>
                  </a:lnTo>
                  <a:lnTo>
                    <a:pt x="225" y="28"/>
                  </a:lnTo>
                  <a:lnTo>
                    <a:pt x="223" y="23"/>
                  </a:lnTo>
                  <a:lnTo>
                    <a:pt x="220" y="19"/>
                  </a:lnTo>
                  <a:lnTo>
                    <a:pt x="216" y="16"/>
                  </a:lnTo>
                  <a:lnTo>
                    <a:pt x="213" y="15"/>
                  </a:lnTo>
                  <a:lnTo>
                    <a:pt x="213" y="15"/>
                  </a:lnTo>
                  <a:lnTo>
                    <a:pt x="206" y="13"/>
                  </a:lnTo>
                  <a:lnTo>
                    <a:pt x="201" y="15"/>
                  </a:lnTo>
                  <a:lnTo>
                    <a:pt x="199" y="16"/>
                  </a:lnTo>
                  <a:lnTo>
                    <a:pt x="194" y="19"/>
                  </a:lnTo>
                  <a:lnTo>
                    <a:pt x="190" y="23"/>
                  </a:lnTo>
                  <a:lnTo>
                    <a:pt x="187" y="28"/>
                  </a:lnTo>
                  <a:lnTo>
                    <a:pt x="183" y="35"/>
                  </a:lnTo>
                  <a:lnTo>
                    <a:pt x="183" y="35"/>
                  </a:lnTo>
                  <a:lnTo>
                    <a:pt x="181" y="39"/>
                  </a:lnTo>
                  <a:lnTo>
                    <a:pt x="181" y="45"/>
                  </a:lnTo>
                  <a:lnTo>
                    <a:pt x="183" y="49"/>
                  </a:lnTo>
                  <a:lnTo>
                    <a:pt x="184" y="54"/>
                  </a:lnTo>
                  <a:lnTo>
                    <a:pt x="184" y="54"/>
                  </a:lnTo>
                  <a:lnTo>
                    <a:pt x="190" y="61"/>
                  </a:lnTo>
                  <a:lnTo>
                    <a:pt x="199" y="67"/>
                  </a:lnTo>
                  <a:lnTo>
                    <a:pt x="199" y="67"/>
                  </a:lnTo>
                  <a:lnTo>
                    <a:pt x="193" y="68"/>
                  </a:lnTo>
                  <a:lnTo>
                    <a:pt x="187" y="69"/>
                  </a:lnTo>
                  <a:lnTo>
                    <a:pt x="172" y="69"/>
                  </a:lnTo>
                  <a:lnTo>
                    <a:pt x="159" y="67"/>
                  </a:lnTo>
                  <a:lnTo>
                    <a:pt x="151" y="65"/>
                  </a:lnTo>
                  <a:lnTo>
                    <a:pt x="151" y="65"/>
                  </a:lnTo>
                  <a:lnTo>
                    <a:pt x="142" y="61"/>
                  </a:lnTo>
                  <a:lnTo>
                    <a:pt x="142" y="61"/>
                  </a:lnTo>
                  <a:lnTo>
                    <a:pt x="148" y="52"/>
                  </a:lnTo>
                  <a:lnTo>
                    <a:pt x="154" y="42"/>
                  </a:lnTo>
                  <a:lnTo>
                    <a:pt x="154" y="42"/>
                  </a:lnTo>
                  <a:lnTo>
                    <a:pt x="156" y="29"/>
                  </a:lnTo>
                  <a:lnTo>
                    <a:pt x="158" y="18"/>
                  </a:lnTo>
                  <a:lnTo>
                    <a:pt x="156" y="13"/>
                  </a:lnTo>
                  <a:lnTo>
                    <a:pt x="155" y="9"/>
                  </a:lnTo>
                  <a:lnTo>
                    <a:pt x="152" y="6"/>
                  </a:lnTo>
                  <a:lnTo>
                    <a:pt x="148" y="3"/>
                  </a:lnTo>
                  <a:lnTo>
                    <a:pt x="148" y="3"/>
                  </a:lnTo>
                  <a:lnTo>
                    <a:pt x="143" y="2"/>
                  </a:lnTo>
                  <a:lnTo>
                    <a:pt x="136" y="3"/>
                  </a:lnTo>
                  <a:lnTo>
                    <a:pt x="133" y="5"/>
                  </a:lnTo>
                  <a:lnTo>
                    <a:pt x="129" y="7"/>
                  </a:lnTo>
                  <a:lnTo>
                    <a:pt x="123" y="12"/>
                  </a:lnTo>
                  <a:lnTo>
                    <a:pt x="119" y="19"/>
                  </a:lnTo>
                  <a:lnTo>
                    <a:pt x="119" y="19"/>
                  </a:lnTo>
                  <a:lnTo>
                    <a:pt x="113" y="31"/>
                  </a:lnTo>
                  <a:lnTo>
                    <a:pt x="112" y="39"/>
                  </a:lnTo>
                  <a:lnTo>
                    <a:pt x="112" y="48"/>
                  </a:lnTo>
                  <a:lnTo>
                    <a:pt x="114" y="55"/>
                  </a:lnTo>
                  <a:lnTo>
                    <a:pt x="114" y="55"/>
                  </a:lnTo>
                  <a:lnTo>
                    <a:pt x="116" y="59"/>
                  </a:lnTo>
                  <a:lnTo>
                    <a:pt x="116" y="59"/>
                  </a:lnTo>
                  <a:lnTo>
                    <a:pt x="110" y="62"/>
                  </a:lnTo>
                  <a:lnTo>
                    <a:pt x="103" y="65"/>
                  </a:lnTo>
                  <a:lnTo>
                    <a:pt x="103" y="65"/>
                  </a:lnTo>
                  <a:lnTo>
                    <a:pt x="97" y="65"/>
                  </a:lnTo>
                  <a:lnTo>
                    <a:pt x="91" y="64"/>
                  </a:lnTo>
                  <a:lnTo>
                    <a:pt x="85" y="62"/>
                  </a:lnTo>
                  <a:lnTo>
                    <a:pt x="81" y="59"/>
                  </a:lnTo>
                  <a:lnTo>
                    <a:pt x="81" y="59"/>
                  </a:lnTo>
                  <a:lnTo>
                    <a:pt x="94" y="38"/>
                  </a:lnTo>
                  <a:lnTo>
                    <a:pt x="100" y="23"/>
                  </a:lnTo>
                  <a:lnTo>
                    <a:pt x="101" y="18"/>
                  </a:lnTo>
                  <a:lnTo>
                    <a:pt x="101" y="13"/>
                  </a:lnTo>
                  <a:lnTo>
                    <a:pt x="100" y="7"/>
                  </a:lnTo>
                  <a:lnTo>
                    <a:pt x="100" y="7"/>
                  </a:lnTo>
                  <a:lnTo>
                    <a:pt x="98" y="5"/>
                  </a:lnTo>
                  <a:lnTo>
                    <a:pt x="96" y="2"/>
                  </a:lnTo>
                  <a:lnTo>
                    <a:pt x="91" y="0"/>
                  </a:lnTo>
                  <a:lnTo>
                    <a:pt x="88" y="0"/>
                  </a:lnTo>
                  <a:lnTo>
                    <a:pt x="88" y="0"/>
                  </a:lnTo>
                  <a:lnTo>
                    <a:pt x="84" y="0"/>
                  </a:lnTo>
                  <a:lnTo>
                    <a:pt x="80" y="2"/>
                  </a:lnTo>
                  <a:lnTo>
                    <a:pt x="71" y="7"/>
                  </a:lnTo>
                  <a:lnTo>
                    <a:pt x="64" y="15"/>
                  </a:lnTo>
                  <a:lnTo>
                    <a:pt x="58" y="25"/>
                  </a:lnTo>
                  <a:lnTo>
                    <a:pt x="58" y="25"/>
                  </a:lnTo>
                  <a:lnTo>
                    <a:pt x="55" y="33"/>
                  </a:lnTo>
                  <a:lnTo>
                    <a:pt x="55" y="44"/>
                  </a:lnTo>
                  <a:lnTo>
                    <a:pt x="56" y="52"/>
                  </a:lnTo>
                  <a:lnTo>
                    <a:pt x="59" y="59"/>
                  </a:lnTo>
                  <a:lnTo>
                    <a:pt x="59" y="59"/>
                  </a:lnTo>
                  <a:lnTo>
                    <a:pt x="59" y="59"/>
                  </a:lnTo>
                  <a:lnTo>
                    <a:pt x="59" y="59"/>
                  </a:lnTo>
                  <a:lnTo>
                    <a:pt x="51" y="69"/>
                  </a:lnTo>
                  <a:lnTo>
                    <a:pt x="42" y="77"/>
                  </a:lnTo>
                  <a:lnTo>
                    <a:pt x="32" y="81"/>
                  </a:lnTo>
                  <a:lnTo>
                    <a:pt x="23" y="84"/>
                  </a:lnTo>
                  <a:lnTo>
                    <a:pt x="14" y="85"/>
                  </a:lnTo>
                  <a:lnTo>
                    <a:pt x="7" y="85"/>
                  </a:lnTo>
                  <a:lnTo>
                    <a:pt x="1" y="85"/>
                  </a:lnTo>
                  <a:lnTo>
                    <a:pt x="0" y="94"/>
                  </a:lnTo>
                  <a:lnTo>
                    <a:pt x="0" y="103"/>
                  </a:lnTo>
                  <a:lnTo>
                    <a:pt x="0" y="103"/>
                  </a:lnTo>
                  <a:lnTo>
                    <a:pt x="6" y="103"/>
                  </a:lnTo>
                  <a:lnTo>
                    <a:pt x="6" y="103"/>
                  </a:lnTo>
                  <a:lnTo>
                    <a:pt x="17" y="103"/>
                  </a:lnTo>
                  <a:lnTo>
                    <a:pt x="26" y="101"/>
                  </a:lnTo>
                  <a:lnTo>
                    <a:pt x="35" y="98"/>
                  </a:lnTo>
                  <a:lnTo>
                    <a:pt x="43" y="94"/>
                  </a:lnTo>
                  <a:lnTo>
                    <a:pt x="54" y="90"/>
                  </a:lnTo>
                  <a:lnTo>
                    <a:pt x="62" y="82"/>
                  </a:lnTo>
                  <a:lnTo>
                    <a:pt x="71" y="72"/>
                  </a:lnTo>
                  <a:lnTo>
                    <a:pt x="71" y="72"/>
                  </a:lnTo>
                  <a:lnTo>
                    <a:pt x="80" y="78"/>
                  </a:lnTo>
                  <a:lnTo>
                    <a:pt x="88" y="81"/>
                  </a:lnTo>
                  <a:lnTo>
                    <a:pt x="97" y="82"/>
                  </a:lnTo>
                  <a:lnTo>
                    <a:pt x="107" y="81"/>
                  </a:lnTo>
                  <a:lnTo>
                    <a:pt x="107" y="81"/>
                  </a:lnTo>
                  <a:lnTo>
                    <a:pt x="117" y="78"/>
                  </a:lnTo>
                  <a:lnTo>
                    <a:pt x="127" y="72"/>
                  </a:lnTo>
                  <a:lnTo>
                    <a:pt x="127" y="72"/>
                  </a:lnTo>
                  <a:lnTo>
                    <a:pt x="136" y="78"/>
                  </a:lnTo>
                  <a:lnTo>
                    <a:pt x="146" y="81"/>
                  </a:lnTo>
                  <a:lnTo>
                    <a:pt x="146" y="81"/>
                  </a:lnTo>
                  <a:lnTo>
                    <a:pt x="162" y="85"/>
                  </a:lnTo>
                  <a:lnTo>
                    <a:pt x="178" y="87"/>
                  </a:lnTo>
                  <a:lnTo>
                    <a:pt x="187" y="87"/>
                  </a:lnTo>
                  <a:lnTo>
                    <a:pt x="194" y="85"/>
                  </a:lnTo>
                  <a:lnTo>
                    <a:pt x="203" y="84"/>
                  </a:lnTo>
                  <a:lnTo>
                    <a:pt x="209" y="81"/>
                  </a:lnTo>
                  <a:lnTo>
                    <a:pt x="209" y="81"/>
                  </a:lnTo>
                  <a:lnTo>
                    <a:pt x="217" y="74"/>
                  </a:lnTo>
                  <a:lnTo>
                    <a:pt x="217" y="74"/>
                  </a:lnTo>
                  <a:lnTo>
                    <a:pt x="232" y="78"/>
                  </a:lnTo>
                  <a:lnTo>
                    <a:pt x="245" y="80"/>
                  </a:lnTo>
                  <a:lnTo>
                    <a:pt x="264" y="82"/>
                  </a:lnTo>
                  <a:lnTo>
                    <a:pt x="265" y="65"/>
                  </a:lnTo>
                  <a:lnTo>
                    <a:pt x="265" y="65"/>
                  </a:lnTo>
                  <a:lnTo>
                    <a:pt x="246" y="62"/>
                  </a:lnTo>
                  <a:lnTo>
                    <a:pt x="225" y="58"/>
                  </a:lnTo>
                  <a:lnTo>
                    <a:pt x="225" y="58"/>
                  </a:lnTo>
                  <a:lnTo>
                    <a:pt x="226" y="56"/>
                  </a:lnTo>
                  <a:lnTo>
                    <a:pt x="226" y="56"/>
                  </a:lnTo>
                  <a:close/>
                  <a:moveTo>
                    <a:pt x="74" y="32"/>
                  </a:moveTo>
                  <a:lnTo>
                    <a:pt x="74" y="32"/>
                  </a:lnTo>
                  <a:lnTo>
                    <a:pt x="78" y="25"/>
                  </a:lnTo>
                  <a:lnTo>
                    <a:pt x="84" y="19"/>
                  </a:lnTo>
                  <a:lnTo>
                    <a:pt x="84" y="19"/>
                  </a:lnTo>
                  <a:lnTo>
                    <a:pt x="80" y="28"/>
                  </a:lnTo>
                  <a:lnTo>
                    <a:pt x="71" y="42"/>
                  </a:lnTo>
                  <a:lnTo>
                    <a:pt x="71" y="42"/>
                  </a:lnTo>
                  <a:lnTo>
                    <a:pt x="72" y="36"/>
                  </a:lnTo>
                  <a:lnTo>
                    <a:pt x="74" y="32"/>
                  </a:lnTo>
                  <a:lnTo>
                    <a:pt x="74" y="32"/>
                  </a:lnTo>
                  <a:close/>
                  <a:moveTo>
                    <a:pt x="138" y="35"/>
                  </a:moveTo>
                  <a:lnTo>
                    <a:pt x="138" y="35"/>
                  </a:lnTo>
                  <a:lnTo>
                    <a:pt x="133" y="42"/>
                  </a:lnTo>
                  <a:lnTo>
                    <a:pt x="130" y="48"/>
                  </a:lnTo>
                  <a:lnTo>
                    <a:pt x="130" y="48"/>
                  </a:lnTo>
                  <a:lnTo>
                    <a:pt x="129" y="44"/>
                  </a:lnTo>
                  <a:lnTo>
                    <a:pt x="129" y="38"/>
                  </a:lnTo>
                  <a:lnTo>
                    <a:pt x="130" y="33"/>
                  </a:lnTo>
                  <a:lnTo>
                    <a:pt x="133" y="28"/>
                  </a:lnTo>
                  <a:lnTo>
                    <a:pt x="133" y="28"/>
                  </a:lnTo>
                  <a:lnTo>
                    <a:pt x="138" y="23"/>
                  </a:lnTo>
                  <a:lnTo>
                    <a:pt x="141" y="20"/>
                  </a:lnTo>
                  <a:lnTo>
                    <a:pt x="141" y="20"/>
                  </a:lnTo>
                  <a:lnTo>
                    <a:pt x="141" y="26"/>
                  </a:lnTo>
                  <a:lnTo>
                    <a:pt x="138" y="35"/>
                  </a:lnTo>
                  <a:lnTo>
                    <a:pt x="138" y="35"/>
                  </a:lnTo>
                  <a:close/>
                  <a:moveTo>
                    <a:pt x="209" y="52"/>
                  </a:moveTo>
                  <a:lnTo>
                    <a:pt x="209" y="52"/>
                  </a:lnTo>
                  <a:lnTo>
                    <a:pt x="203" y="49"/>
                  </a:lnTo>
                  <a:lnTo>
                    <a:pt x="199" y="45"/>
                  </a:lnTo>
                  <a:lnTo>
                    <a:pt x="199" y="45"/>
                  </a:lnTo>
                  <a:lnTo>
                    <a:pt x="199" y="44"/>
                  </a:lnTo>
                  <a:lnTo>
                    <a:pt x="199" y="42"/>
                  </a:lnTo>
                  <a:lnTo>
                    <a:pt x="199" y="42"/>
                  </a:lnTo>
                  <a:lnTo>
                    <a:pt x="201" y="36"/>
                  </a:lnTo>
                  <a:lnTo>
                    <a:pt x="204" y="33"/>
                  </a:lnTo>
                  <a:lnTo>
                    <a:pt x="207" y="31"/>
                  </a:lnTo>
                  <a:lnTo>
                    <a:pt x="207" y="31"/>
                  </a:lnTo>
                  <a:lnTo>
                    <a:pt x="209" y="32"/>
                  </a:lnTo>
                  <a:lnTo>
                    <a:pt x="210" y="36"/>
                  </a:lnTo>
                  <a:lnTo>
                    <a:pt x="210" y="44"/>
                  </a:lnTo>
                  <a:lnTo>
                    <a:pt x="209" y="52"/>
                  </a:lnTo>
                  <a:lnTo>
                    <a:pt x="209"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 name="Freeform 5">
            <a:extLst>
              <a:ext uri="{FF2B5EF4-FFF2-40B4-BE49-F238E27FC236}">
                <a16:creationId xmlns:a16="http://schemas.microsoft.com/office/drawing/2014/main" id="{68C199D0-5401-46EB-F5F6-ACCA6F12FDDE}"/>
              </a:ext>
            </a:extLst>
          </p:cNvPr>
          <p:cNvSpPr>
            <a:spLocks noEditPoints="1"/>
          </p:cNvSpPr>
          <p:nvPr/>
        </p:nvSpPr>
        <p:spPr bwMode="auto">
          <a:xfrm>
            <a:off x="8094132" y="3091399"/>
            <a:ext cx="762000" cy="763588"/>
          </a:xfrm>
          <a:custGeom>
            <a:avLst/>
            <a:gdLst>
              <a:gd name="T0" fmla="*/ 293 w 480"/>
              <a:gd name="T1" fmla="*/ 257 h 481"/>
              <a:gd name="T2" fmla="*/ 313 w 480"/>
              <a:gd name="T3" fmla="*/ 219 h 481"/>
              <a:gd name="T4" fmla="*/ 322 w 480"/>
              <a:gd name="T5" fmla="*/ 178 h 481"/>
              <a:gd name="T6" fmla="*/ 321 w 480"/>
              <a:gd name="T7" fmla="*/ 137 h 481"/>
              <a:gd name="T8" fmla="*/ 310 w 480"/>
              <a:gd name="T9" fmla="*/ 95 h 481"/>
              <a:gd name="T10" fmla="*/ 287 w 480"/>
              <a:gd name="T11" fmla="*/ 58 h 481"/>
              <a:gd name="T12" fmla="*/ 264 w 480"/>
              <a:gd name="T13" fmla="*/ 37 h 481"/>
              <a:gd name="T14" fmla="*/ 224 w 480"/>
              <a:gd name="T15" fmla="*/ 13 h 481"/>
              <a:gd name="T16" fmla="*/ 178 w 480"/>
              <a:gd name="T17" fmla="*/ 1 h 481"/>
              <a:gd name="T18" fmla="*/ 146 w 480"/>
              <a:gd name="T19" fmla="*/ 1 h 481"/>
              <a:gd name="T20" fmla="*/ 99 w 480"/>
              <a:gd name="T21" fmla="*/ 13 h 481"/>
              <a:gd name="T22" fmla="*/ 59 w 480"/>
              <a:gd name="T23" fmla="*/ 37 h 481"/>
              <a:gd name="T24" fmla="*/ 36 w 480"/>
              <a:gd name="T25" fmla="*/ 60 h 481"/>
              <a:gd name="T26" fmla="*/ 12 w 480"/>
              <a:gd name="T27" fmla="*/ 102 h 481"/>
              <a:gd name="T28" fmla="*/ 1 w 480"/>
              <a:gd name="T29" fmla="*/ 147 h 481"/>
              <a:gd name="T30" fmla="*/ 3 w 480"/>
              <a:gd name="T31" fmla="*/ 193 h 481"/>
              <a:gd name="T32" fmla="*/ 19 w 480"/>
              <a:gd name="T33" fmla="*/ 237 h 481"/>
              <a:gd name="T34" fmla="*/ 48 w 480"/>
              <a:gd name="T35" fmla="*/ 277 h 481"/>
              <a:gd name="T36" fmla="*/ 72 w 480"/>
              <a:gd name="T37" fmla="*/ 298 h 481"/>
              <a:gd name="T38" fmla="*/ 114 w 480"/>
              <a:gd name="T39" fmla="*/ 318 h 481"/>
              <a:gd name="T40" fmla="*/ 162 w 480"/>
              <a:gd name="T41" fmla="*/ 324 h 481"/>
              <a:gd name="T42" fmla="*/ 187 w 480"/>
              <a:gd name="T43" fmla="*/ 322 h 481"/>
              <a:gd name="T44" fmla="*/ 224 w 480"/>
              <a:gd name="T45" fmla="*/ 313 h 481"/>
              <a:gd name="T46" fmla="*/ 257 w 480"/>
              <a:gd name="T47" fmla="*/ 293 h 481"/>
              <a:gd name="T48" fmla="*/ 84 w 480"/>
              <a:gd name="T49" fmla="*/ 241 h 481"/>
              <a:gd name="T50" fmla="*/ 70 w 480"/>
              <a:gd name="T51" fmla="*/ 224 h 481"/>
              <a:gd name="T52" fmla="*/ 56 w 480"/>
              <a:gd name="T53" fmla="*/ 195 h 481"/>
              <a:gd name="T54" fmla="*/ 51 w 480"/>
              <a:gd name="T55" fmla="*/ 162 h 481"/>
              <a:gd name="T56" fmla="*/ 53 w 480"/>
              <a:gd name="T57" fmla="*/ 141 h 481"/>
              <a:gd name="T58" fmla="*/ 63 w 480"/>
              <a:gd name="T59" fmla="*/ 110 h 481"/>
              <a:gd name="T60" fmla="*/ 84 w 480"/>
              <a:gd name="T61" fmla="*/ 84 h 481"/>
              <a:gd name="T62" fmla="*/ 100 w 480"/>
              <a:gd name="T63" fmla="*/ 70 h 481"/>
              <a:gd name="T64" fmla="*/ 129 w 480"/>
              <a:gd name="T65" fmla="*/ 56 h 481"/>
              <a:gd name="T66" fmla="*/ 162 w 480"/>
              <a:gd name="T67" fmla="*/ 51 h 481"/>
              <a:gd name="T68" fmla="*/ 184 w 480"/>
              <a:gd name="T69" fmla="*/ 53 h 481"/>
              <a:gd name="T70" fmla="*/ 214 w 480"/>
              <a:gd name="T71" fmla="*/ 65 h 481"/>
              <a:gd name="T72" fmla="*/ 240 w 480"/>
              <a:gd name="T73" fmla="*/ 84 h 481"/>
              <a:gd name="T74" fmla="*/ 255 w 480"/>
              <a:gd name="T75" fmla="*/ 101 h 481"/>
              <a:gd name="T76" fmla="*/ 269 w 480"/>
              <a:gd name="T77" fmla="*/ 130 h 481"/>
              <a:gd name="T78" fmla="*/ 273 w 480"/>
              <a:gd name="T79" fmla="*/ 162 h 481"/>
              <a:gd name="T80" fmla="*/ 269 w 480"/>
              <a:gd name="T81" fmla="*/ 194 h 481"/>
              <a:gd name="T82" fmla="*/ 255 w 480"/>
              <a:gd name="T83" fmla="*/ 224 h 481"/>
              <a:gd name="T84" fmla="*/ 240 w 480"/>
              <a:gd name="T85" fmla="*/ 241 h 481"/>
              <a:gd name="T86" fmla="*/ 214 w 480"/>
              <a:gd name="T87" fmla="*/ 261 h 481"/>
              <a:gd name="T88" fmla="*/ 184 w 480"/>
              <a:gd name="T89" fmla="*/ 271 h 481"/>
              <a:gd name="T90" fmla="*/ 162 w 480"/>
              <a:gd name="T91" fmla="*/ 273 h 481"/>
              <a:gd name="T92" fmla="*/ 129 w 480"/>
              <a:gd name="T93" fmla="*/ 269 h 481"/>
              <a:gd name="T94" fmla="*/ 100 w 480"/>
              <a:gd name="T95" fmla="*/ 255 h 481"/>
              <a:gd name="T96" fmla="*/ 84 w 480"/>
              <a:gd name="T97" fmla="*/ 24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 h="481">
                <a:moveTo>
                  <a:pt x="480" y="445"/>
                </a:moveTo>
                <a:lnTo>
                  <a:pt x="293" y="257"/>
                </a:lnTo>
                <a:lnTo>
                  <a:pt x="293" y="257"/>
                </a:lnTo>
                <a:lnTo>
                  <a:pt x="300" y="246"/>
                </a:lnTo>
                <a:lnTo>
                  <a:pt x="308" y="233"/>
                </a:lnTo>
                <a:lnTo>
                  <a:pt x="313" y="219"/>
                </a:lnTo>
                <a:lnTo>
                  <a:pt x="317" y="207"/>
                </a:lnTo>
                <a:lnTo>
                  <a:pt x="320" y="193"/>
                </a:lnTo>
                <a:lnTo>
                  <a:pt x="322" y="178"/>
                </a:lnTo>
                <a:lnTo>
                  <a:pt x="324" y="164"/>
                </a:lnTo>
                <a:lnTo>
                  <a:pt x="324" y="150"/>
                </a:lnTo>
                <a:lnTo>
                  <a:pt x="321" y="137"/>
                </a:lnTo>
                <a:lnTo>
                  <a:pt x="318" y="123"/>
                </a:lnTo>
                <a:lnTo>
                  <a:pt x="315" y="109"/>
                </a:lnTo>
                <a:lnTo>
                  <a:pt x="310" y="95"/>
                </a:lnTo>
                <a:lnTo>
                  <a:pt x="302" y="83"/>
                </a:lnTo>
                <a:lnTo>
                  <a:pt x="295" y="71"/>
                </a:lnTo>
                <a:lnTo>
                  <a:pt x="287" y="58"/>
                </a:lnTo>
                <a:lnTo>
                  <a:pt x="276" y="48"/>
                </a:lnTo>
                <a:lnTo>
                  <a:pt x="276" y="48"/>
                </a:lnTo>
                <a:lnTo>
                  <a:pt x="264" y="37"/>
                </a:lnTo>
                <a:lnTo>
                  <a:pt x="252" y="28"/>
                </a:lnTo>
                <a:lnTo>
                  <a:pt x="238" y="19"/>
                </a:lnTo>
                <a:lnTo>
                  <a:pt x="224" y="13"/>
                </a:lnTo>
                <a:lnTo>
                  <a:pt x="209" y="7"/>
                </a:lnTo>
                <a:lnTo>
                  <a:pt x="193" y="3"/>
                </a:lnTo>
                <a:lnTo>
                  <a:pt x="178" y="1"/>
                </a:lnTo>
                <a:lnTo>
                  <a:pt x="162" y="0"/>
                </a:lnTo>
                <a:lnTo>
                  <a:pt x="162" y="0"/>
                </a:lnTo>
                <a:lnTo>
                  <a:pt x="146" y="1"/>
                </a:lnTo>
                <a:lnTo>
                  <a:pt x="130" y="3"/>
                </a:lnTo>
                <a:lnTo>
                  <a:pt x="114" y="7"/>
                </a:lnTo>
                <a:lnTo>
                  <a:pt x="99" y="13"/>
                </a:lnTo>
                <a:lnTo>
                  <a:pt x="86" y="19"/>
                </a:lnTo>
                <a:lnTo>
                  <a:pt x="72" y="28"/>
                </a:lnTo>
                <a:lnTo>
                  <a:pt x="59" y="37"/>
                </a:lnTo>
                <a:lnTo>
                  <a:pt x="48" y="48"/>
                </a:lnTo>
                <a:lnTo>
                  <a:pt x="48" y="48"/>
                </a:lnTo>
                <a:lnTo>
                  <a:pt x="36" y="60"/>
                </a:lnTo>
                <a:lnTo>
                  <a:pt x="26" y="73"/>
                </a:lnTo>
                <a:lnTo>
                  <a:pt x="19" y="87"/>
                </a:lnTo>
                <a:lnTo>
                  <a:pt x="12" y="102"/>
                </a:lnTo>
                <a:lnTo>
                  <a:pt x="6" y="117"/>
                </a:lnTo>
                <a:lnTo>
                  <a:pt x="3" y="131"/>
                </a:lnTo>
                <a:lnTo>
                  <a:pt x="1" y="147"/>
                </a:lnTo>
                <a:lnTo>
                  <a:pt x="0" y="162"/>
                </a:lnTo>
                <a:lnTo>
                  <a:pt x="1" y="178"/>
                </a:lnTo>
                <a:lnTo>
                  <a:pt x="3" y="193"/>
                </a:lnTo>
                <a:lnTo>
                  <a:pt x="6" y="209"/>
                </a:lnTo>
                <a:lnTo>
                  <a:pt x="12" y="224"/>
                </a:lnTo>
                <a:lnTo>
                  <a:pt x="19" y="237"/>
                </a:lnTo>
                <a:lnTo>
                  <a:pt x="26" y="251"/>
                </a:lnTo>
                <a:lnTo>
                  <a:pt x="36" y="265"/>
                </a:lnTo>
                <a:lnTo>
                  <a:pt x="48" y="277"/>
                </a:lnTo>
                <a:lnTo>
                  <a:pt x="48" y="277"/>
                </a:lnTo>
                <a:lnTo>
                  <a:pt x="59" y="288"/>
                </a:lnTo>
                <a:lnTo>
                  <a:pt x="72" y="298"/>
                </a:lnTo>
                <a:lnTo>
                  <a:pt x="86" y="305"/>
                </a:lnTo>
                <a:lnTo>
                  <a:pt x="99" y="313"/>
                </a:lnTo>
                <a:lnTo>
                  <a:pt x="114" y="318"/>
                </a:lnTo>
                <a:lnTo>
                  <a:pt x="130" y="321"/>
                </a:lnTo>
                <a:lnTo>
                  <a:pt x="146" y="324"/>
                </a:lnTo>
                <a:lnTo>
                  <a:pt x="162" y="324"/>
                </a:lnTo>
                <a:lnTo>
                  <a:pt x="162" y="324"/>
                </a:lnTo>
                <a:lnTo>
                  <a:pt x="174" y="324"/>
                </a:lnTo>
                <a:lnTo>
                  <a:pt x="187" y="322"/>
                </a:lnTo>
                <a:lnTo>
                  <a:pt x="200" y="320"/>
                </a:lnTo>
                <a:lnTo>
                  <a:pt x="213" y="317"/>
                </a:lnTo>
                <a:lnTo>
                  <a:pt x="224" y="313"/>
                </a:lnTo>
                <a:lnTo>
                  <a:pt x="236" y="307"/>
                </a:lnTo>
                <a:lnTo>
                  <a:pt x="246" y="301"/>
                </a:lnTo>
                <a:lnTo>
                  <a:pt x="257" y="293"/>
                </a:lnTo>
                <a:lnTo>
                  <a:pt x="444" y="481"/>
                </a:lnTo>
                <a:lnTo>
                  <a:pt x="480" y="445"/>
                </a:lnTo>
                <a:close/>
                <a:moveTo>
                  <a:pt x="84" y="241"/>
                </a:moveTo>
                <a:lnTo>
                  <a:pt x="84" y="241"/>
                </a:lnTo>
                <a:lnTo>
                  <a:pt x="76" y="233"/>
                </a:lnTo>
                <a:lnTo>
                  <a:pt x="70" y="224"/>
                </a:lnTo>
                <a:lnTo>
                  <a:pt x="63" y="215"/>
                </a:lnTo>
                <a:lnTo>
                  <a:pt x="59" y="204"/>
                </a:lnTo>
                <a:lnTo>
                  <a:pt x="56" y="195"/>
                </a:lnTo>
                <a:lnTo>
                  <a:pt x="53" y="184"/>
                </a:lnTo>
                <a:lnTo>
                  <a:pt x="52" y="174"/>
                </a:lnTo>
                <a:lnTo>
                  <a:pt x="51" y="162"/>
                </a:lnTo>
                <a:lnTo>
                  <a:pt x="51" y="162"/>
                </a:lnTo>
                <a:lnTo>
                  <a:pt x="52" y="152"/>
                </a:lnTo>
                <a:lnTo>
                  <a:pt x="53" y="141"/>
                </a:lnTo>
                <a:lnTo>
                  <a:pt x="56" y="130"/>
                </a:lnTo>
                <a:lnTo>
                  <a:pt x="59" y="120"/>
                </a:lnTo>
                <a:lnTo>
                  <a:pt x="63" y="110"/>
                </a:lnTo>
                <a:lnTo>
                  <a:pt x="70" y="101"/>
                </a:lnTo>
                <a:lnTo>
                  <a:pt x="76" y="92"/>
                </a:lnTo>
                <a:lnTo>
                  <a:pt x="84" y="84"/>
                </a:lnTo>
                <a:lnTo>
                  <a:pt x="84" y="84"/>
                </a:lnTo>
                <a:lnTo>
                  <a:pt x="92" y="76"/>
                </a:lnTo>
                <a:lnTo>
                  <a:pt x="100" y="70"/>
                </a:lnTo>
                <a:lnTo>
                  <a:pt x="110" y="65"/>
                </a:lnTo>
                <a:lnTo>
                  <a:pt x="119" y="59"/>
                </a:lnTo>
                <a:lnTo>
                  <a:pt x="129" y="56"/>
                </a:lnTo>
                <a:lnTo>
                  <a:pt x="140" y="53"/>
                </a:lnTo>
                <a:lnTo>
                  <a:pt x="151" y="52"/>
                </a:lnTo>
                <a:lnTo>
                  <a:pt x="162" y="51"/>
                </a:lnTo>
                <a:lnTo>
                  <a:pt x="162" y="51"/>
                </a:lnTo>
                <a:lnTo>
                  <a:pt x="172" y="52"/>
                </a:lnTo>
                <a:lnTo>
                  <a:pt x="184" y="53"/>
                </a:lnTo>
                <a:lnTo>
                  <a:pt x="195" y="56"/>
                </a:lnTo>
                <a:lnTo>
                  <a:pt x="204" y="59"/>
                </a:lnTo>
                <a:lnTo>
                  <a:pt x="214" y="65"/>
                </a:lnTo>
                <a:lnTo>
                  <a:pt x="223" y="70"/>
                </a:lnTo>
                <a:lnTo>
                  <a:pt x="233" y="76"/>
                </a:lnTo>
                <a:lnTo>
                  <a:pt x="240" y="84"/>
                </a:lnTo>
                <a:lnTo>
                  <a:pt x="240" y="84"/>
                </a:lnTo>
                <a:lnTo>
                  <a:pt x="247" y="92"/>
                </a:lnTo>
                <a:lnTo>
                  <a:pt x="255" y="101"/>
                </a:lnTo>
                <a:lnTo>
                  <a:pt x="260" y="110"/>
                </a:lnTo>
                <a:lnTo>
                  <a:pt x="264" y="121"/>
                </a:lnTo>
                <a:lnTo>
                  <a:pt x="269" y="130"/>
                </a:lnTo>
                <a:lnTo>
                  <a:pt x="271" y="141"/>
                </a:lnTo>
                <a:lnTo>
                  <a:pt x="272" y="152"/>
                </a:lnTo>
                <a:lnTo>
                  <a:pt x="273" y="162"/>
                </a:lnTo>
                <a:lnTo>
                  <a:pt x="272" y="173"/>
                </a:lnTo>
                <a:lnTo>
                  <a:pt x="271" y="183"/>
                </a:lnTo>
                <a:lnTo>
                  <a:pt x="269" y="194"/>
                </a:lnTo>
                <a:lnTo>
                  <a:pt x="264" y="204"/>
                </a:lnTo>
                <a:lnTo>
                  <a:pt x="260" y="214"/>
                </a:lnTo>
                <a:lnTo>
                  <a:pt x="255" y="224"/>
                </a:lnTo>
                <a:lnTo>
                  <a:pt x="247" y="232"/>
                </a:lnTo>
                <a:lnTo>
                  <a:pt x="240" y="241"/>
                </a:lnTo>
                <a:lnTo>
                  <a:pt x="240" y="241"/>
                </a:lnTo>
                <a:lnTo>
                  <a:pt x="233" y="248"/>
                </a:lnTo>
                <a:lnTo>
                  <a:pt x="223" y="255"/>
                </a:lnTo>
                <a:lnTo>
                  <a:pt x="214" y="261"/>
                </a:lnTo>
                <a:lnTo>
                  <a:pt x="204" y="265"/>
                </a:lnTo>
                <a:lnTo>
                  <a:pt x="195" y="269"/>
                </a:lnTo>
                <a:lnTo>
                  <a:pt x="184" y="271"/>
                </a:lnTo>
                <a:lnTo>
                  <a:pt x="172" y="273"/>
                </a:lnTo>
                <a:lnTo>
                  <a:pt x="162" y="273"/>
                </a:lnTo>
                <a:lnTo>
                  <a:pt x="162" y="273"/>
                </a:lnTo>
                <a:lnTo>
                  <a:pt x="151" y="273"/>
                </a:lnTo>
                <a:lnTo>
                  <a:pt x="140" y="271"/>
                </a:lnTo>
                <a:lnTo>
                  <a:pt x="129" y="269"/>
                </a:lnTo>
                <a:lnTo>
                  <a:pt x="119" y="265"/>
                </a:lnTo>
                <a:lnTo>
                  <a:pt x="110" y="261"/>
                </a:lnTo>
                <a:lnTo>
                  <a:pt x="100" y="255"/>
                </a:lnTo>
                <a:lnTo>
                  <a:pt x="92" y="248"/>
                </a:lnTo>
                <a:lnTo>
                  <a:pt x="84" y="241"/>
                </a:lnTo>
                <a:lnTo>
                  <a:pt x="84" y="2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5">
            <a:extLst>
              <a:ext uri="{FF2B5EF4-FFF2-40B4-BE49-F238E27FC236}">
                <a16:creationId xmlns:a16="http://schemas.microsoft.com/office/drawing/2014/main" id="{6387B3B7-D55A-1E11-DCC3-F9ADF90AEC23}"/>
              </a:ext>
            </a:extLst>
          </p:cNvPr>
          <p:cNvSpPr>
            <a:spLocks noEditPoints="1"/>
          </p:cNvSpPr>
          <p:nvPr/>
        </p:nvSpPr>
        <p:spPr bwMode="auto">
          <a:xfrm>
            <a:off x="10248397" y="2949962"/>
            <a:ext cx="1186964" cy="1159648"/>
          </a:xfrm>
          <a:custGeom>
            <a:avLst/>
            <a:gdLst>
              <a:gd name="T0" fmla="*/ 394 w 480"/>
              <a:gd name="T1" fmla="*/ 210 h 481"/>
              <a:gd name="T2" fmla="*/ 375 w 480"/>
              <a:gd name="T3" fmla="*/ 160 h 481"/>
              <a:gd name="T4" fmla="*/ 341 w 480"/>
              <a:gd name="T5" fmla="*/ 120 h 481"/>
              <a:gd name="T6" fmla="*/ 296 w 480"/>
              <a:gd name="T7" fmla="*/ 93 h 481"/>
              <a:gd name="T8" fmla="*/ 257 w 480"/>
              <a:gd name="T9" fmla="*/ 0 h 481"/>
              <a:gd name="T10" fmla="*/ 209 w 480"/>
              <a:gd name="T11" fmla="*/ 86 h 481"/>
              <a:gd name="T12" fmla="*/ 160 w 480"/>
              <a:gd name="T13" fmla="*/ 105 h 481"/>
              <a:gd name="T14" fmla="*/ 119 w 480"/>
              <a:gd name="T15" fmla="*/ 139 h 481"/>
              <a:gd name="T16" fmla="*/ 93 w 480"/>
              <a:gd name="T17" fmla="*/ 184 h 481"/>
              <a:gd name="T18" fmla="*/ 0 w 480"/>
              <a:gd name="T19" fmla="*/ 224 h 481"/>
              <a:gd name="T20" fmla="*/ 86 w 480"/>
              <a:gd name="T21" fmla="*/ 271 h 481"/>
              <a:gd name="T22" fmla="*/ 105 w 480"/>
              <a:gd name="T23" fmla="*/ 321 h 481"/>
              <a:gd name="T24" fmla="*/ 139 w 480"/>
              <a:gd name="T25" fmla="*/ 361 h 481"/>
              <a:gd name="T26" fmla="*/ 183 w 480"/>
              <a:gd name="T27" fmla="*/ 388 h 481"/>
              <a:gd name="T28" fmla="*/ 223 w 480"/>
              <a:gd name="T29" fmla="*/ 481 h 481"/>
              <a:gd name="T30" fmla="*/ 271 w 480"/>
              <a:gd name="T31" fmla="*/ 395 h 481"/>
              <a:gd name="T32" fmla="*/ 320 w 480"/>
              <a:gd name="T33" fmla="*/ 376 h 481"/>
              <a:gd name="T34" fmla="*/ 359 w 480"/>
              <a:gd name="T35" fmla="*/ 342 h 481"/>
              <a:gd name="T36" fmla="*/ 387 w 480"/>
              <a:gd name="T37" fmla="*/ 297 h 481"/>
              <a:gd name="T38" fmla="*/ 480 w 480"/>
              <a:gd name="T39" fmla="*/ 257 h 481"/>
              <a:gd name="T40" fmla="*/ 314 w 480"/>
              <a:gd name="T41" fmla="*/ 224 h 481"/>
              <a:gd name="T42" fmla="*/ 294 w 480"/>
              <a:gd name="T43" fmla="*/ 186 h 481"/>
              <a:gd name="T44" fmla="*/ 257 w 480"/>
              <a:gd name="T45" fmla="*/ 165 h 481"/>
              <a:gd name="T46" fmla="*/ 277 w 480"/>
              <a:gd name="T47" fmla="*/ 123 h 481"/>
              <a:gd name="T48" fmla="*/ 312 w 480"/>
              <a:gd name="T49" fmla="*/ 140 h 481"/>
              <a:gd name="T50" fmla="*/ 339 w 480"/>
              <a:gd name="T51" fmla="*/ 168 h 481"/>
              <a:gd name="T52" fmla="*/ 357 w 480"/>
              <a:gd name="T53" fmla="*/ 203 h 481"/>
              <a:gd name="T54" fmla="*/ 240 w 480"/>
              <a:gd name="T55" fmla="*/ 284 h 481"/>
              <a:gd name="T56" fmla="*/ 216 w 480"/>
              <a:gd name="T57" fmla="*/ 277 h 481"/>
              <a:gd name="T58" fmla="*/ 198 w 480"/>
              <a:gd name="T59" fmla="*/ 249 h 481"/>
              <a:gd name="T60" fmla="*/ 200 w 480"/>
              <a:gd name="T61" fmla="*/ 224 h 481"/>
              <a:gd name="T62" fmla="*/ 223 w 480"/>
              <a:gd name="T63" fmla="*/ 201 h 481"/>
              <a:gd name="T64" fmla="*/ 248 w 480"/>
              <a:gd name="T65" fmla="*/ 198 h 481"/>
              <a:gd name="T66" fmla="*/ 275 w 480"/>
              <a:gd name="T67" fmla="*/ 216 h 481"/>
              <a:gd name="T68" fmla="*/ 282 w 480"/>
              <a:gd name="T69" fmla="*/ 241 h 481"/>
              <a:gd name="T70" fmla="*/ 270 w 480"/>
              <a:gd name="T71" fmla="*/ 271 h 481"/>
              <a:gd name="T72" fmla="*/ 240 w 480"/>
              <a:gd name="T73" fmla="*/ 284 h 481"/>
              <a:gd name="T74" fmla="*/ 223 w 480"/>
              <a:gd name="T75" fmla="*/ 165 h 481"/>
              <a:gd name="T76" fmla="*/ 186 w 480"/>
              <a:gd name="T77" fmla="*/ 186 h 481"/>
              <a:gd name="T78" fmla="*/ 165 w 480"/>
              <a:gd name="T79" fmla="*/ 224 h 481"/>
              <a:gd name="T80" fmla="*/ 122 w 480"/>
              <a:gd name="T81" fmla="*/ 203 h 481"/>
              <a:gd name="T82" fmla="*/ 140 w 480"/>
              <a:gd name="T83" fmla="*/ 168 h 481"/>
              <a:gd name="T84" fmla="*/ 167 w 480"/>
              <a:gd name="T85" fmla="*/ 140 h 481"/>
              <a:gd name="T86" fmla="*/ 203 w 480"/>
              <a:gd name="T87" fmla="*/ 123 h 481"/>
              <a:gd name="T88" fmla="*/ 117 w 480"/>
              <a:gd name="T89" fmla="*/ 257 h 481"/>
              <a:gd name="T90" fmla="*/ 172 w 480"/>
              <a:gd name="T91" fmla="*/ 278 h 481"/>
              <a:gd name="T92" fmla="*/ 203 w 480"/>
              <a:gd name="T93" fmla="*/ 308 h 481"/>
              <a:gd name="T94" fmla="*/ 223 w 480"/>
              <a:gd name="T95" fmla="*/ 363 h 481"/>
              <a:gd name="T96" fmla="*/ 184 w 480"/>
              <a:gd name="T97" fmla="*/ 352 h 481"/>
              <a:gd name="T98" fmla="*/ 152 w 480"/>
              <a:gd name="T99" fmla="*/ 328 h 481"/>
              <a:gd name="T100" fmla="*/ 129 w 480"/>
              <a:gd name="T101" fmla="*/ 297 h 481"/>
              <a:gd name="T102" fmla="*/ 117 w 480"/>
              <a:gd name="T103" fmla="*/ 257 h 481"/>
              <a:gd name="T104" fmla="*/ 257 w 480"/>
              <a:gd name="T105" fmla="*/ 316 h 481"/>
              <a:gd name="T106" fmla="*/ 294 w 480"/>
              <a:gd name="T107" fmla="*/ 295 h 481"/>
              <a:gd name="T108" fmla="*/ 314 w 480"/>
              <a:gd name="T109" fmla="*/ 257 h 481"/>
              <a:gd name="T110" fmla="*/ 357 w 480"/>
              <a:gd name="T111" fmla="*/ 278 h 481"/>
              <a:gd name="T112" fmla="*/ 339 w 480"/>
              <a:gd name="T113" fmla="*/ 314 h 481"/>
              <a:gd name="T114" fmla="*/ 312 w 480"/>
              <a:gd name="T115" fmla="*/ 341 h 481"/>
              <a:gd name="T116" fmla="*/ 277 w 480"/>
              <a:gd name="T117" fmla="*/ 35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0" h="481">
                <a:moveTo>
                  <a:pt x="480" y="224"/>
                </a:moveTo>
                <a:lnTo>
                  <a:pt x="396" y="224"/>
                </a:lnTo>
                <a:lnTo>
                  <a:pt x="396" y="224"/>
                </a:lnTo>
                <a:lnTo>
                  <a:pt x="394" y="210"/>
                </a:lnTo>
                <a:lnTo>
                  <a:pt x="391" y="197"/>
                </a:lnTo>
                <a:lnTo>
                  <a:pt x="387" y="184"/>
                </a:lnTo>
                <a:lnTo>
                  <a:pt x="382" y="172"/>
                </a:lnTo>
                <a:lnTo>
                  <a:pt x="375" y="160"/>
                </a:lnTo>
                <a:lnTo>
                  <a:pt x="368" y="149"/>
                </a:lnTo>
                <a:lnTo>
                  <a:pt x="359" y="139"/>
                </a:lnTo>
                <a:lnTo>
                  <a:pt x="351" y="129"/>
                </a:lnTo>
                <a:lnTo>
                  <a:pt x="341" y="120"/>
                </a:lnTo>
                <a:lnTo>
                  <a:pt x="331" y="112"/>
                </a:lnTo>
                <a:lnTo>
                  <a:pt x="320" y="105"/>
                </a:lnTo>
                <a:lnTo>
                  <a:pt x="309" y="99"/>
                </a:lnTo>
                <a:lnTo>
                  <a:pt x="296" y="93"/>
                </a:lnTo>
                <a:lnTo>
                  <a:pt x="283" y="89"/>
                </a:lnTo>
                <a:lnTo>
                  <a:pt x="271" y="86"/>
                </a:lnTo>
                <a:lnTo>
                  <a:pt x="257" y="84"/>
                </a:lnTo>
                <a:lnTo>
                  <a:pt x="257" y="0"/>
                </a:lnTo>
                <a:lnTo>
                  <a:pt x="223" y="0"/>
                </a:lnTo>
                <a:lnTo>
                  <a:pt x="223" y="84"/>
                </a:lnTo>
                <a:lnTo>
                  <a:pt x="223" y="84"/>
                </a:lnTo>
                <a:lnTo>
                  <a:pt x="209" y="86"/>
                </a:lnTo>
                <a:lnTo>
                  <a:pt x="196" y="89"/>
                </a:lnTo>
                <a:lnTo>
                  <a:pt x="183" y="93"/>
                </a:lnTo>
                <a:lnTo>
                  <a:pt x="171" y="99"/>
                </a:lnTo>
                <a:lnTo>
                  <a:pt x="160" y="105"/>
                </a:lnTo>
                <a:lnTo>
                  <a:pt x="148" y="112"/>
                </a:lnTo>
                <a:lnTo>
                  <a:pt x="139" y="120"/>
                </a:lnTo>
                <a:lnTo>
                  <a:pt x="129" y="129"/>
                </a:lnTo>
                <a:lnTo>
                  <a:pt x="119" y="139"/>
                </a:lnTo>
                <a:lnTo>
                  <a:pt x="112" y="149"/>
                </a:lnTo>
                <a:lnTo>
                  <a:pt x="105" y="160"/>
                </a:lnTo>
                <a:lnTo>
                  <a:pt x="98" y="172"/>
                </a:lnTo>
                <a:lnTo>
                  <a:pt x="93" y="184"/>
                </a:lnTo>
                <a:lnTo>
                  <a:pt x="89" y="197"/>
                </a:lnTo>
                <a:lnTo>
                  <a:pt x="86" y="210"/>
                </a:lnTo>
                <a:lnTo>
                  <a:pt x="84" y="224"/>
                </a:lnTo>
                <a:lnTo>
                  <a:pt x="0" y="224"/>
                </a:lnTo>
                <a:lnTo>
                  <a:pt x="0" y="257"/>
                </a:lnTo>
                <a:lnTo>
                  <a:pt x="84" y="257"/>
                </a:lnTo>
                <a:lnTo>
                  <a:pt x="84" y="257"/>
                </a:lnTo>
                <a:lnTo>
                  <a:pt x="86" y="271"/>
                </a:lnTo>
                <a:lnTo>
                  <a:pt x="89" y="284"/>
                </a:lnTo>
                <a:lnTo>
                  <a:pt x="93" y="297"/>
                </a:lnTo>
                <a:lnTo>
                  <a:pt x="98" y="309"/>
                </a:lnTo>
                <a:lnTo>
                  <a:pt x="105" y="321"/>
                </a:lnTo>
                <a:lnTo>
                  <a:pt x="112" y="332"/>
                </a:lnTo>
                <a:lnTo>
                  <a:pt x="119" y="342"/>
                </a:lnTo>
                <a:lnTo>
                  <a:pt x="129" y="352"/>
                </a:lnTo>
                <a:lnTo>
                  <a:pt x="139" y="361"/>
                </a:lnTo>
                <a:lnTo>
                  <a:pt x="148" y="369"/>
                </a:lnTo>
                <a:lnTo>
                  <a:pt x="160" y="376"/>
                </a:lnTo>
                <a:lnTo>
                  <a:pt x="171" y="382"/>
                </a:lnTo>
                <a:lnTo>
                  <a:pt x="183" y="388"/>
                </a:lnTo>
                <a:lnTo>
                  <a:pt x="196" y="392"/>
                </a:lnTo>
                <a:lnTo>
                  <a:pt x="209" y="395"/>
                </a:lnTo>
                <a:lnTo>
                  <a:pt x="223" y="397"/>
                </a:lnTo>
                <a:lnTo>
                  <a:pt x="223" y="481"/>
                </a:lnTo>
                <a:lnTo>
                  <a:pt x="257" y="481"/>
                </a:lnTo>
                <a:lnTo>
                  <a:pt x="257" y="397"/>
                </a:lnTo>
                <a:lnTo>
                  <a:pt x="257" y="397"/>
                </a:lnTo>
                <a:lnTo>
                  <a:pt x="271" y="395"/>
                </a:lnTo>
                <a:lnTo>
                  <a:pt x="283" y="392"/>
                </a:lnTo>
                <a:lnTo>
                  <a:pt x="296" y="388"/>
                </a:lnTo>
                <a:lnTo>
                  <a:pt x="309" y="382"/>
                </a:lnTo>
                <a:lnTo>
                  <a:pt x="320" y="376"/>
                </a:lnTo>
                <a:lnTo>
                  <a:pt x="331" y="369"/>
                </a:lnTo>
                <a:lnTo>
                  <a:pt x="341" y="361"/>
                </a:lnTo>
                <a:lnTo>
                  <a:pt x="351" y="352"/>
                </a:lnTo>
                <a:lnTo>
                  <a:pt x="359" y="342"/>
                </a:lnTo>
                <a:lnTo>
                  <a:pt x="368" y="332"/>
                </a:lnTo>
                <a:lnTo>
                  <a:pt x="375" y="321"/>
                </a:lnTo>
                <a:lnTo>
                  <a:pt x="382" y="309"/>
                </a:lnTo>
                <a:lnTo>
                  <a:pt x="387" y="297"/>
                </a:lnTo>
                <a:lnTo>
                  <a:pt x="391" y="284"/>
                </a:lnTo>
                <a:lnTo>
                  <a:pt x="394" y="271"/>
                </a:lnTo>
                <a:lnTo>
                  <a:pt x="396" y="257"/>
                </a:lnTo>
                <a:lnTo>
                  <a:pt x="480" y="257"/>
                </a:lnTo>
                <a:lnTo>
                  <a:pt x="480" y="224"/>
                </a:lnTo>
                <a:close/>
                <a:moveTo>
                  <a:pt x="363" y="224"/>
                </a:moveTo>
                <a:lnTo>
                  <a:pt x="314" y="224"/>
                </a:lnTo>
                <a:lnTo>
                  <a:pt x="314" y="224"/>
                </a:lnTo>
                <a:lnTo>
                  <a:pt x="311" y="213"/>
                </a:lnTo>
                <a:lnTo>
                  <a:pt x="307" y="203"/>
                </a:lnTo>
                <a:lnTo>
                  <a:pt x="301" y="194"/>
                </a:lnTo>
                <a:lnTo>
                  <a:pt x="294" y="186"/>
                </a:lnTo>
                <a:lnTo>
                  <a:pt x="285" y="179"/>
                </a:lnTo>
                <a:lnTo>
                  <a:pt x="277" y="174"/>
                </a:lnTo>
                <a:lnTo>
                  <a:pt x="267" y="168"/>
                </a:lnTo>
                <a:lnTo>
                  <a:pt x="257" y="165"/>
                </a:lnTo>
                <a:lnTo>
                  <a:pt x="257" y="118"/>
                </a:lnTo>
                <a:lnTo>
                  <a:pt x="257" y="118"/>
                </a:lnTo>
                <a:lnTo>
                  <a:pt x="266" y="120"/>
                </a:lnTo>
                <a:lnTo>
                  <a:pt x="277" y="123"/>
                </a:lnTo>
                <a:lnTo>
                  <a:pt x="287" y="126"/>
                </a:lnTo>
                <a:lnTo>
                  <a:pt x="295" y="130"/>
                </a:lnTo>
                <a:lnTo>
                  <a:pt x="303" y="135"/>
                </a:lnTo>
                <a:lnTo>
                  <a:pt x="312" y="140"/>
                </a:lnTo>
                <a:lnTo>
                  <a:pt x="320" y="146"/>
                </a:lnTo>
                <a:lnTo>
                  <a:pt x="327" y="153"/>
                </a:lnTo>
                <a:lnTo>
                  <a:pt x="334" y="160"/>
                </a:lnTo>
                <a:lnTo>
                  <a:pt x="339" y="168"/>
                </a:lnTo>
                <a:lnTo>
                  <a:pt x="346" y="176"/>
                </a:lnTo>
                <a:lnTo>
                  <a:pt x="350" y="185"/>
                </a:lnTo>
                <a:lnTo>
                  <a:pt x="354" y="194"/>
                </a:lnTo>
                <a:lnTo>
                  <a:pt x="357" y="203"/>
                </a:lnTo>
                <a:lnTo>
                  <a:pt x="361" y="214"/>
                </a:lnTo>
                <a:lnTo>
                  <a:pt x="363" y="224"/>
                </a:lnTo>
                <a:lnTo>
                  <a:pt x="363" y="224"/>
                </a:lnTo>
                <a:close/>
                <a:moveTo>
                  <a:pt x="240" y="284"/>
                </a:moveTo>
                <a:lnTo>
                  <a:pt x="240" y="284"/>
                </a:lnTo>
                <a:lnTo>
                  <a:pt x="232" y="283"/>
                </a:lnTo>
                <a:lnTo>
                  <a:pt x="223" y="280"/>
                </a:lnTo>
                <a:lnTo>
                  <a:pt x="216" y="277"/>
                </a:lnTo>
                <a:lnTo>
                  <a:pt x="209" y="271"/>
                </a:lnTo>
                <a:lnTo>
                  <a:pt x="204" y="265"/>
                </a:lnTo>
                <a:lnTo>
                  <a:pt x="200" y="257"/>
                </a:lnTo>
                <a:lnTo>
                  <a:pt x="198" y="249"/>
                </a:lnTo>
                <a:lnTo>
                  <a:pt x="197" y="241"/>
                </a:lnTo>
                <a:lnTo>
                  <a:pt x="197" y="241"/>
                </a:lnTo>
                <a:lnTo>
                  <a:pt x="198" y="232"/>
                </a:lnTo>
                <a:lnTo>
                  <a:pt x="200" y="224"/>
                </a:lnTo>
                <a:lnTo>
                  <a:pt x="204" y="216"/>
                </a:lnTo>
                <a:lnTo>
                  <a:pt x="209" y="210"/>
                </a:lnTo>
                <a:lnTo>
                  <a:pt x="216" y="204"/>
                </a:lnTo>
                <a:lnTo>
                  <a:pt x="223" y="201"/>
                </a:lnTo>
                <a:lnTo>
                  <a:pt x="232" y="198"/>
                </a:lnTo>
                <a:lnTo>
                  <a:pt x="240" y="198"/>
                </a:lnTo>
                <a:lnTo>
                  <a:pt x="240" y="198"/>
                </a:lnTo>
                <a:lnTo>
                  <a:pt x="248" y="198"/>
                </a:lnTo>
                <a:lnTo>
                  <a:pt x="257" y="201"/>
                </a:lnTo>
                <a:lnTo>
                  <a:pt x="263" y="204"/>
                </a:lnTo>
                <a:lnTo>
                  <a:pt x="270" y="210"/>
                </a:lnTo>
                <a:lnTo>
                  <a:pt x="275" y="216"/>
                </a:lnTo>
                <a:lnTo>
                  <a:pt x="279" y="224"/>
                </a:lnTo>
                <a:lnTo>
                  <a:pt x="282" y="232"/>
                </a:lnTo>
                <a:lnTo>
                  <a:pt x="282" y="241"/>
                </a:lnTo>
                <a:lnTo>
                  <a:pt x="282" y="241"/>
                </a:lnTo>
                <a:lnTo>
                  <a:pt x="282" y="249"/>
                </a:lnTo>
                <a:lnTo>
                  <a:pt x="279" y="257"/>
                </a:lnTo>
                <a:lnTo>
                  <a:pt x="275" y="265"/>
                </a:lnTo>
                <a:lnTo>
                  <a:pt x="270" y="271"/>
                </a:lnTo>
                <a:lnTo>
                  <a:pt x="263" y="277"/>
                </a:lnTo>
                <a:lnTo>
                  <a:pt x="257" y="280"/>
                </a:lnTo>
                <a:lnTo>
                  <a:pt x="248" y="283"/>
                </a:lnTo>
                <a:lnTo>
                  <a:pt x="240" y="284"/>
                </a:lnTo>
                <a:lnTo>
                  <a:pt x="240" y="284"/>
                </a:lnTo>
                <a:close/>
                <a:moveTo>
                  <a:pt x="223" y="118"/>
                </a:moveTo>
                <a:lnTo>
                  <a:pt x="223" y="165"/>
                </a:lnTo>
                <a:lnTo>
                  <a:pt x="223" y="165"/>
                </a:lnTo>
                <a:lnTo>
                  <a:pt x="213" y="168"/>
                </a:lnTo>
                <a:lnTo>
                  <a:pt x="203" y="174"/>
                </a:lnTo>
                <a:lnTo>
                  <a:pt x="193" y="179"/>
                </a:lnTo>
                <a:lnTo>
                  <a:pt x="186" y="186"/>
                </a:lnTo>
                <a:lnTo>
                  <a:pt x="179" y="194"/>
                </a:lnTo>
                <a:lnTo>
                  <a:pt x="172" y="203"/>
                </a:lnTo>
                <a:lnTo>
                  <a:pt x="168" y="213"/>
                </a:lnTo>
                <a:lnTo>
                  <a:pt x="165" y="224"/>
                </a:lnTo>
                <a:lnTo>
                  <a:pt x="117" y="224"/>
                </a:lnTo>
                <a:lnTo>
                  <a:pt x="117" y="224"/>
                </a:lnTo>
                <a:lnTo>
                  <a:pt x="119" y="214"/>
                </a:lnTo>
                <a:lnTo>
                  <a:pt x="122" y="203"/>
                </a:lnTo>
                <a:lnTo>
                  <a:pt x="125" y="194"/>
                </a:lnTo>
                <a:lnTo>
                  <a:pt x="129" y="185"/>
                </a:lnTo>
                <a:lnTo>
                  <a:pt x="134" y="176"/>
                </a:lnTo>
                <a:lnTo>
                  <a:pt x="140" y="168"/>
                </a:lnTo>
                <a:lnTo>
                  <a:pt x="146" y="160"/>
                </a:lnTo>
                <a:lnTo>
                  <a:pt x="152" y="153"/>
                </a:lnTo>
                <a:lnTo>
                  <a:pt x="160" y="146"/>
                </a:lnTo>
                <a:lnTo>
                  <a:pt x="167" y="140"/>
                </a:lnTo>
                <a:lnTo>
                  <a:pt x="176" y="135"/>
                </a:lnTo>
                <a:lnTo>
                  <a:pt x="184" y="130"/>
                </a:lnTo>
                <a:lnTo>
                  <a:pt x="193" y="126"/>
                </a:lnTo>
                <a:lnTo>
                  <a:pt x="203" y="123"/>
                </a:lnTo>
                <a:lnTo>
                  <a:pt x="213" y="120"/>
                </a:lnTo>
                <a:lnTo>
                  <a:pt x="223" y="118"/>
                </a:lnTo>
                <a:lnTo>
                  <a:pt x="223" y="118"/>
                </a:lnTo>
                <a:close/>
                <a:moveTo>
                  <a:pt x="117" y="257"/>
                </a:moveTo>
                <a:lnTo>
                  <a:pt x="165" y="257"/>
                </a:lnTo>
                <a:lnTo>
                  <a:pt x="165" y="257"/>
                </a:lnTo>
                <a:lnTo>
                  <a:pt x="168" y="268"/>
                </a:lnTo>
                <a:lnTo>
                  <a:pt x="172" y="278"/>
                </a:lnTo>
                <a:lnTo>
                  <a:pt x="179" y="287"/>
                </a:lnTo>
                <a:lnTo>
                  <a:pt x="186" y="295"/>
                </a:lnTo>
                <a:lnTo>
                  <a:pt x="193" y="302"/>
                </a:lnTo>
                <a:lnTo>
                  <a:pt x="203" y="308"/>
                </a:lnTo>
                <a:lnTo>
                  <a:pt x="213" y="313"/>
                </a:lnTo>
                <a:lnTo>
                  <a:pt x="223" y="316"/>
                </a:lnTo>
                <a:lnTo>
                  <a:pt x="223" y="363"/>
                </a:lnTo>
                <a:lnTo>
                  <a:pt x="223" y="363"/>
                </a:lnTo>
                <a:lnTo>
                  <a:pt x="213" y="361"/>
                </a:lnTo>
                <a:lnTo>
                  <a:pt x="203" y="359"/>
                </a:lnTo>
                <a:lnTo>
                  <a:pt x="193" y="355"/>
                </a:lnTo>
                <a:lnTo>
                  <a:pt x="184" y="352"/>
                </a:lnTo>
                <a:lnTo>
                  <a:pt x="176" y="346"/>
                </a:lnTo>
                <a:lnTo>
                  <a:pt x="167" y="341"/>
                </a:lnTo>
                <a:lnTo>
                  <a:pt x="160" y="335"/>
                </a:lnTo>
                <a:lnTo>
                  <a:pt x="152" y="328"/>
                </a:lnTo>
                <a:lnTo>
                  <a:pt x="146" y="321"/>
                </a:lnTo>
                <a:lnTo>
                  <a:pt x="140" y="314"/>
                </a:lnTo>
                <a:lnTo>
                  <a:pt x="134" y="305"/>
                </a:lnTo>
                <a:lnTo>
                  <a:pt x="129" y="297"/>
                </a:lnTo>
                <a:lnTo>
                  <a:pt x="125" y="287"/>
                </a:lnTo>
                <a:lnTo>
                  <a:pt x="122" y="278"/>
                </a:lnTo>
                <a:lnTo>
                  <a:pt x="119" y="268"/>
                </a:lnTo>
                <a:lnTo>
                  <a:pt x="117" y="257"/>
                </a:lnTo>
                <a:lnTo>
                  <a:pt x="117" y="257"/>
                </a:lnTo>
                <a:close/>
                <a:moveTo>
                  <a:pt x="257" y="363"/>
                </a:moveTo>
                <a:lnTo>
                  <a:pt x="257" y="316"/>
                </a:lnTo>
                <a:lnTo>
                  <a:pt x="257" y="316"/>
                </a:lnTo>
                <a:lnTo>
                  <a:pt x="267" y="313"/>
                </a:lnTo>
                <a:lnTo>
                  <a:pt x="277" y="308"/>
                </a:lnTo>
                <a:lnTo>
                  <a:pt x="285" y="302"/>
                </a:lnTo>
                <a:lnTo>
                  <a:pt x="294" y="295"/>
                </a:lnTo>
                <a:lnTo>
                  <a:pt x="301" y="287"/>
                </a:lnTo>
                <a:lnTo>
                  <a:pt x="307" y="278"/>
                </a:lnTo>
                <a:lnTo>
                  <a:pt x="311" y="268"/>
                </a:lnTo>
                <a:lnTo>
                  <a:pt x="314" y="257"/>
                </a:lnTo>
                <a:lnTo>
                  <a:pt x="363" y="257"/>
                </a:lnTo>
                <a:lnTo>
                  <a:pt x="363" y="257"/>
                </a:lnTo>
                <a:lnTo>
                  <a:pt x="361" y="268"/>
                </a:lnTo>
                <a:lnTo>
                  <a:pt x="357" y="278"/>
                </a:lnTo>
                <a:lnTo>
                  <a:pt x="354" y="287"/>
                </a:lnTo>
                <a:lnTo>
                  <a:pt x="350" y="297"/>
                </a:lnTo>
                <a:lnTo>
                  <a:pt x="346" y="305"/>
                </a:lnTo>
                <a:lnTo>
                  <a:pt x="339" y="314"/>
                </a:lnTo>
                <a:lnTo>
                  <a:pt x="334" y="321"/>
                </a:lnTo>
                <a:lnTo>
                  <a:pt x="327" y="328"/>
                </a:lnTo>
                <a:lnTo>
                  <a:pt x="320" y="335"/>
                </a:lnTo>
                <a:lnTo>
                  <a:pt x="312" y="341"/>
                </a:lnTo>
                <a:lnTo>
                  <a:pt x="303" y="346"/>
                </a:lnTo>
                <a:lnTo>
                  <a:pt x="295" y="352"/>
                </a:lnTo>
                <a:lnTo>
                  <a:pt x="287" y="355"/>
                </a:lnTo>
                <a:lnTo>
                  <a:pt x="277" y="359"/>
                </a:lnTo>
                <a:lnTo>
                  <a:pt x="266" y="361"/>
                </a:lnTo>
                <a:lnTo>
                  <a:pt x="257" y="363"/>
                </a:lnTo>
                <a:lnTo>
                  <a:pt x="257"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246755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fade">
                                      <p:cBhvr>
                                        <p:cTn id="56" dur="500"/>
                                        <p:tgtEl>
                                          <p:spTgt spid="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fade">
                                      <p:cBhvr>
                                        <p:cTn id="5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8" grpId="0"/>
      <p:bldP spid="33" grpId="0"/>
      <p:bldP spid="39" grpId="0"/>
      <p:bldP spid="40" grpId="0"/>
      <p:bldP spid="5" grpId="0" animBg="1"/>
      <p:bldP spid="7" grpId="0" animBg="1"/>
      <p:bldP spid="8" grpId="0" animBg="1"/>
      <p:bldP spid="9" grpId="0" animBg="1"/>
      <p:bldP spid="6" grpId="0" animBg="1"/>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4C62D-435D-DCA5-36CA-3D8A525F9EE5}"/>
              </a:ext>
            </a:extLst>
          </p:cNvPr>
          <p:cNvSpPr>
            <a:spLocks noGrp="1"/>
          </p:cNvSpPr>
          <p:nvPr>
            <p:ph type="title"/>
          </p:nvPr>
        </p:nvSpPr>
        <p:spPr/>
        <p:txBody>
          <a:bodyPr/>
          <a:lstStyle/>
          <a:p>
            <a:r>
              <a:rPr lang="en-US" kern="1200" dirty="0">
                <a:latin typeface="Arial"/>
              </a:rPr>
              <a:t>Design Thinking
</a:t>
            </a:r>
            <a:r>
              <a:rPr lang="es-ES" b="0" dirty="0">
                <a:solidFill>
                  <a:srgbClr val="005192"/>
                </a:solidFill>
                <a:latin typeface="Arial" panose="020B0604020202020204" pitchFamily="34" charset="0"/>
              </a:rPr>
              <a:t>Poner al usuario en el centro del proceso de diseño</a:t>
            </a:r>
            <a:endParaRPr lang="en-GB" dirty="0"/>
          </a:p>
        </p:txBody>
      </p:sp>
      <p:sp>
        <p:nvSpPr>
          <p:cNvPr id="9" name="Oval 8"/>
          <p:cNvSpPr/>
          <p:nvPr/>
        </p:nvSpPr>
        <p:spPr>
          <a:xfrm>
            <a:off x="4712770" y="1470579"/>
            <a:ext cx="2724882" cy="2724881"/>
          </a:xfrm>
          <a:prstGeom prst="ellipse">
            <a:avLst/>
          </a:prstGeom>
          <a:solidFill>
            <a:schemeClr val="accent3">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831" dirty="0" err="1">
              <a:solidFill>
                <a:srgbClr val="4D4F53"/>
              </a:solidFill>
            </a:endParaRPr>
          </a:p>
        </p:txBody>
      </p:sp>
      <p:sp>
        <p:nvSpPr>
          <p:cNvPr id="10" name="Oval 9"/>
          <p:cNvSpPr/>
          <p:nvPr/>
        </p:nvSpPr>
        <p:spPr>
          <a:xfrm>
            <a:off x="5823264" y="3260355"/>
            <a:ext cx="2724882" cy="2724881"/>
          </a:xfrm>
          <a:prstGeom prst="ellipse">
            <a:avLst/>
          </a:pr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831" dirty="0" err="1">
              <a:solidFill>
                <a:srgbClr val="4D4F53"/>
              </a:solidFill>
            </a:endParaRPr>
          </a:p>
        </p:txBody>
      </p:sp>
      <p:sp>
        <p:nvSpPr>
          <p:cNvPr id="11" name="Oval 10"/>
          <p:cNvSpPr/>
          <p:nvPr/>
        </p:nvSpPr>
        <p:spPr>
          <a:xfrm>
            <a:off x="3643853" y="3260355"/>
            <a:ext cx="2724882" cy="2724881"/>
          </a:xfrm>
          <a:prstGeom prst="ellipse">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831" dirty="0" err="1">
              <a:solidFill>
                <a:srgbClr val="4D4F53"/>
              </a:solidFill>
            </a:endParaRPr>
          </a:p>
        </p:txBody>
      </p:sp>
      <p:sp>
        <p:nvSpPr>
          <p:cNvPr id="12" name="TextBox 11"/>
          <p:cNvSpPr txBox="1"/>
          <p:nvPr/>
        </p:nvSpPr>
        <p:spPr>
          <a:xfrm>
            <a:off x="5027835" y="1958445"/>
            <a:ext cx="2034813" cy="1796646"/>
          </a:xfrm>
          <a:prstGeom prst="rect">
            <a:avLst/>
          </a:prstGeom>
          <a:noFill/>
        </p:spPr>
        <p:txBody>
          <a:bodyPr wrap="square" rtlCol="0">
            <a:spAutoFit/>
          </a:bodyPr>
          <a:lstStyle/>
          <a:p>
            <a:pPr algn="ctr"/>
            <a:r>
              <a:rPr lang="en-US" sz="1846" b="1" dirty="0" err="1">
                <a:solidFill>
                  <a:schemeClr val="bg1"/>
                </a:solidFill>
              </a:rPr>
              <a:t>Factores</a:t>
            </a:r>
            <a:r>
              <a:rPr lang="en-US" sz="1846" b="1" dirty="0">
                <a:solidFill>
                  <a:schemeClr val="bg1"/>
                </a:solidFill>
              </a:rPr>
              <a:t> </a:t>
            </a:r>
            <a:r>
              <a:rPr lang="en-US" sz="1846" b="1" dirty="0" err="1">
                <a:solidFill>
                  <a:schemeClr val="bg1"/>
                </a:solidFill>
              </a:rPr>
              <a:t>humanos</a:t>
            </a:r>
            <a:endParaRPr lang="en-US" sz="1846" b="1" dirty="0">
              <a:solidFill>
                <a:schemeClr val="bg1"/>
              </a:solidFill>
            </a:endParaRPr>
          </a:p>
          <a:p>
            <a:pPr algn="ctr"/>
            <a:r>
              <a:rPr lang="en-US" sz="1846" dirty="0" err="1">
                <a:solidFill>
                  <a:schemeClr val="bg1"/>
                </a:solidFill>
              </a:rPr>
              <a:t>Usabilidad</a:t>
            </a:r>
            <a:r>
              <a:rPr lang="en-US" sz="1846" dirty="0">
                <a:solidFill>
                  <a:schemeClr val="bg1"/>
                </a:solidFill>
              </a:rPr>
              <a:t>/</a:t>
            </a:r>
          </a:p>
          <a:p>
            <a:pPr algn="ctr"/>
            <a:r>
              <a:rPr lang="en-US" sz="1846" dirty="0" err="1">
                <a:solidFill>
                  <a:schemeClr val="bg1"/>
                </a:solidFill>
              </a:rPr>
              <a:t>Atractivo</a:t>
            </a:r>
            <a:endParaRPr lang="en-US" sz="1846" dirty="0">
              <a:solidFill>
                <a:schemeClr val="bg1"/>
              </a:solidFill>
            </a:endParaRPr>
          </a:p>
          <a:p>
            <a:pPr algn="ctr"/>
            <a:endParaRPr lang="en-US" sz="1846" dirty="0">
              <a:solidFill>
                <a:schemeClr val="bg1"/>
              </a:solidFill>
            </a:endParaRPr>
          </a:p>
          <a:p>
            <a:pPr algn="ctr"/>
            <a:endParaRPr lang="en-US" sz="1846" b="1" i="1" dirty="0">
              <a:solidFill>
                <a:schemeClr val="bg1"/>
              </a:solidFill>
            </a:endParaRPr>
          </a:p>
        </p:txBody>
      </p:sp>
      <p:sp>
        <p:nvSpPr>
          <p:cNvPr id="13" name="TextBox 12"/>
          <p:cNvSpPr txBox="1"/>
          <p:nvPr/>
        </p:nvSpPr>
        <p:spPr>
          <a:xfrm>
            <a:off x="6211473" y="4585421"/>
            <a:ext cx="2238294" cy="660437"/>
          </a:xfrm>
          <a:prstGeom prst="rect">
            <a:avLst/>
          </a:prstGeom>
          <a:noFill/>
        </p:spPr>
        <p:txBody>
          <a:bodyPr wrap="square" rtlCol="0">
            <a:spAutoFit/>
          </a:bodyPr>
          <a:lstStyle/>
          <a:p>
            <a:pPr algn="ctr"/>
            <a:r>
              <a:rPr lang="en-US" sz="1846" b="1" dirty="0" err="1">
                <a:solidFill>
                  <a:schemeClr val="bg1"/>
                </a:solidFill>
              </a:rPr>
              <a:t>Negocio</a:t>
            </a:r>
            <a:endParaRPr lang="en-US" sz="1846" b="1" dirty="0">
              <a:solidFill>
                <a:schemeClr val="bg1"/>
              </a:solidFill>
            </a:endParaRPr>
          </a:p>
          <a:p>
            <a:pPr algn="ctr"/>
            <a:r>
              <a:rPr lang="en-US" sz="1846" dirty="0" err="1">
                <a:solidFill>
                  <a:schemeClr val="bg1"/>
                </a:solidFill>
              </a:rPr>
              <a:t>Viabilidad</a:t>
            </a:r>
            <a:endParaRPr lang="en-US" sz="1846" dirty="0">
              <a:solidFill>
                <a:schemeClr val="bg1"/>
              </a:solidFill>
            </a:endParaRPr>
          </a:p>
        </p:txBody>
      </p:sp>
      <p:sp>
        <p:nvSpPr>
          <p:cNvPr id="14" name="TextBox 13"/>
          <p:cNvSpPr txBox="1"/>
          <p:nvPr/>
        </p:nvSpPr>
        <p:spPr>
          <a:xfrm>
            <a:off x="3741738" y="4562404"/>
            <a:ext cx="2238294" cy="660437"/>
          </a:xfrm>
          <a:prstGeom prst="rect">
            <a:avLst/>
          </a:prstGeom>
          <a:noFill/>
        </p:spPr>
        <p:txBody>
          <a:bodyPr wrap="square" rtlCol="0">
            <a:spAutoFit/>
          </a:bodyPr>
          <a:lstStyle/>
          <a:p>
            <a:pPr algn="ctr"/>
            <a:r>
              <a:rPr lang="en-US" sz="1846" b="1" dirty="0" err="1">
                <a:solidFill>
                  <a:schemeClr val="bg1"/>
                </a:solidFill>
              </a:rPr>
              <a:t>Tecnología</a:t>
            </a:r>
            <a:endParaRPr lang="en-US" sz="1846" b="1" dirty="0">
              <a:solidFill>
                <a:schemeClr val="bg1"/>
              </a:solidFill>
            </a:endParaRPr>
          </a:p>
          <a:p>
            <a:pPr algn="ctr"/>
            <a:r>
              <a:rPr lang="en-US" sz="1846" dirty="0" err="1">
                <a:solidFill>
                  <a:schemeClr val="bg1"/>
                </a:solidFill>
              </a:rPr>
              <a:t>Factibilidad</a:t>
            </a:r>
            <a:endParaRPr lang="en-US" sz="1846" dirty="0">
              <a:solidFill>
                <a:schemeClr val="bg1"/>
              </a:solidFill>
            </a:endParaRPr>
          </a:p>
        </p:txBody>
      </p:sp>
      <p:sp>
        <p:nvSpPr>
          <p:cNvPr id="15" name="Freeform 14"/>
          <p:cNvSpPr/>
          <p:nvPr/>
        </p:nvSpPr>
        <p:spPr>
          <a:xfrm>
            <a:off x="5886819" y="3824585"/>
            <a:ext cx="376784" cy="352430"/>
          </a:xfrm>
          <a:custGeom>
            <a:avLst/>
            <a:gdLst>
              <a:gd name="connsiteX0" fmla="*/ 185685 w 371075"/>
              <a:gd name="connsiteY0" fmla="*/ 0 h 347090"/>
              <a:gd name="connsiteX1" fmla="*/ 367121 w 371075"/>
              <a:gd name="connsiteY1" fmla="*/ 347090 h 347090"/>
              <a:gd name="connsiteX2" fmla="*/ 4250 w 371075"/>
              <a:gd name="connsiteY2" fmla="*/ 347090 h 347090"/>
              <a:gd name="connsiteX3" fmla="*/ 185685 w 371075"/>
              <a:gd name="connsiteY3" fmla="*/ 0 h 347090"/>
            </a:gdLst>
            <a:ahLst/>
            <a:cxnLst>
              <a:cxn ang="0">
                <a:pos x="connsiteX0" y="connsiteY0"/>
              </a:cxn>
              <a:cxn ang="0">
                <a:pos x="connsiteX1" y="connsiteY1"/>
              </a:cxn>
              <a:cxn ang="0">
                <a:pos x="connsiteX2" y="connsiteY2"/>
              </a:cxn>
              <a:cxn ang="0">
                <a:pos x="connsiteX3" y="connsiteY3"/>
              </a:cxn>
            </a:cxnLst>
            <a:rect l="l" t="t" r="r" b="b"/>
            <a:pathLst>
              <a:path w="371075" h="347090">
                <a:moveTo>
                  <a:pt x="185685" y="0"/>
                </a:moveTo>
                <a:cubicBezTo>
                  <a:pt x="246163" y="0"/>
                  <a:pt x="397360" y="289242"/>
                  <a:pt x="367121" y="347090"/>
                </a:cubicBezTo>
                <a:cubicBezTo>
                  <a:pt x="336882" y="404938"/>
                  <a:pt x="35804" y="404938"/>
                  <a:pt x="4250" y="347090"/>
                </a:cubicBezTo>
                <a:cubicBezTo>
                  <a:pt x="-27304" y="289242"/>
                  <a:pt x="125207" y="0"/>
                  <a:pt x="185685" y="0"/>
                </a:cubicBezTo>
                <a:close/>
              </a:path>
            </a:pathLst>
          </a:cu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554" dirty="0">
              <a:solidFill>
                <a:srgbClr val="4D4F53"/>
              </a:solidFill>
            </a:endParaRPr>
          </a:p>
        </p:txBody>
      </p:sp>
      <p:cxnSp>
        <p:nvCxnSpPr>
          <p:cNvPr id="8" name="Straight Connector 7"/>
          <p:cNvCxnSpPr/>
          <p:nvPr/>
        </p:nvCxnSpPr>
        <p:spPr bwMode="auto">
          <a:xfrm>
            <a:off x="3144121" y="3049278"/>
            <a:ext cx="2973344" cy="1607997"/>
          </a:xfrm>
          <a:prstGeom prst="line">
            <a:avLst/>
          </a:prstGeom>
          <a:solidFill>
            <a:schemeClr val="bg1"/>
          </a:solidFill>
          <a:ln w="508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Oval 15"/>
          <p:cNvSpPr/>
          <p:nvPr/>
        </p:nvSpPr>
        <p:spPr bwMode="auto">
          <a:xfrm>
            <a:off x="5935832" y="4464334"/>
            <a:ext cx="316921" cy="316921"/>
          </a:xfrm>
          <a:prstGeom prst="ellipse">
            <a:avLst/>
          </a:prstGeom>
          <a:solidFill>
            <a:schemeClr val="bg2"/>
          </a:solidFill>
          <a:ln w="50800" cap="flat" cmpd="sng" algn="ctr">
            <a:solidFill>
              <a:schemeClr val="bg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21" name="Straight Connector 20"/>
          <p:cNvCxnSpPr/>
          <p:nvPr/>
        </p:nvCxnSpPr>
        <p:spPr bwMode="auto">
          <a:xfrm>
            <a:off x="3107141" y="2441517"/>
            <a:ext cx="2347707" cy="1239650"/>
          </a:xfrm>
          <a:prstGeom prst="line">
            <a:avLst/>
          </a:prstGeom>
          <a:solidFill>
            <a:schemeClr val="bg1"/>
          </a:solidFill>
          <a:ln w="508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p:cNvSpPr txBox="1"/>
          <p:nvPr/>
        </p:nvSpPr>
        <p:spPr>
          <a:xfrm>
            <a:off x="1873881" y="2718573"/>
            <a:ext cx="1378424" cy="584775"/>
          </a:xfrm>
          <a:prstGeom prst="rect">
            <a:avLst/>
          </a:prstGeom>
          <a:noFill/>
        </p:spPr>
        <p:txBody>
          <a:bodyPr wrap="square" rtlCol="0">
            <a:spAutoFit/>
          </a:bodyPr>
          <a:lstStyle/>
          <a:p>
            <a:pPr>
              <a:spcBef>
                <a:spcPts val="600"/>
              </a:spcBef>
              <a:buClr>
                <a:schemeClr val="accent2"/>
              </a:buClr>
            </a:pPr>
            <a:r>
              <a:rPr lang="es-MX" sz="1600" b="1" dirty="0">
                <a:solidFill>
                  <a:schemeClr val="bg2"/>
                </a:solidFill>
              </a:rPr>
              <a:t>Innovación de procesos</a:t>
            </a:r>
          </a:p>
        </p:txBody>
      </p:sp>
      <p:sp>
        <p:nvSpPr>
          <p:cNvPr id="26" name="TextBox 25"/>
          <p:cNvSpPr txBox="1"/>
          <p:nvPr/>
        </p:nvSpPr>
        <p:spPr>
          <a:xfrm>
            <a:off x="1879238" y="2093715"/>
            <a:ext cx="1378424" cy="584775"/>
          </a:xfrm>
          <a:prstGeom prst="rect">
            <a:avLst/>
          </a:prstGeom>
          <a:noFill/>
        </p:spPr>
        <p:txBody>
          <a:bodyPr wrap="square" rtlCol="0">
            <a:spAutoFit/>
          </a:bodyPr>
          <a:lstStyle/>
          <a:p>
            <a:pPr>
              <a:spcBef>
                <a:spcPts val="600"/>
              </a:spcBef>
              <a:buClr>
                <a:schemeClr val="accent2"/>
              </a:buClr>
            </a:pPr>
            <a:r>
              <a:rPr lang="es-MX" sz="1600" b="1" dirty="0">
                <a:solidFill>
                  <a:schemeClr val="bg2"/>
                </a:solidFill>
              </a:rPr>
              <a:t>Innovación funcional</a:t>
            </a:r>
          </a:p>
        </p:txBody>
      </p:sp>
      <p:sp>
        <p:nvSpPr>
          <p:cNvPr id="28" name="TextBox 27"/>
          <p:cNvSpPr txBox="1"/>
          <p:nvPr/>
        </p:nvSpPr>
        <p:spPr>
          <a:xfrm>
            <a:off x="9140356" y="2162767"/>
            <a:ext cx="1378424" cy="584775"/>
          </a:xfrm>
          <a:prstGeom prst="rect">
            <a:avLst/>
          </a:prstGeom>
          <a:noFill/>
        </p:spPr>
        <p:txBody>
          <a:bodyPr wrap="square" rtlCol="0">
            <a:spAutoFit/>
          </a:bodyPr>
          <a:lstStyle/>
          <a:p>
            <a:pPr>
              <a:spcBef>
                <a:spcPts val="600"/>
              </a:spcBef>
              <a:buClr>
                <a:schemeClr val="accent2"/>
              </a:buClr>
            </a:pPr>
            <a:r>
              <a:rPr lang="es-MX" sz="1600" b="1" dirty="0">
                <a:solidFill>
                  <a:schemeClr val="bg2"/>
                </a:solidFill>
              </a:rPr>
              <a:t>Innovación emocional</a:t>
            </a:r>
          </a:p>
        </p:txBody>
      </p:sp>
      <p:cxnSp>
        <p:nvCxnSpPr>
          <p:cNvPr id="29" name="Straight Connector 28"/>
          <p:cNvCxnSpPr/>
          <p:nvPr/>
        </p:nvCxnSpPr>
        <p:spPr bwMode="auto">
          <a:xfrm flipV="1">
            <a:off x="6672712" y="2455155"/>
            <a:ext cx="2347707" cy="1239650"/>
          </a:xfrm>
          <a:prstGeom prst="line">
            <a:avLst/>
          </a:prstGeom>
          <a:solidFill>
            <a:schemeClr val="bg1"/>
          </a:solidFill>
          <a:ln w="508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Oval 3"/>
          <p:cNvSpPr/>
          <p:nvPr/>
        </p:nvSpPr>
        <p:spPr bwMode="auto">
          <a:xfrm>
            <a:off x="5305586" y="3536356"/>
            <a:ext cx="316921" cy="316921"/>
          </a:xfrm>
          <a:prstGeom prst="ellipse">
            <a:avLst/>
          </a:prstGeom>
          <a:solidFill>
            <a:schemeClr val="bg2"/>
          </a:solidFill>
          <a:ln w="50800" cap="flat" cmpd="sng" algn="ctr">
            <a:solidFill>
              <a:schemeClr val="bg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17" name="Oval 16"/>
          <p:cNvSpPr/>
          <p:nvPr/>
        </p:nvSpPr>
        <p:spPr bwMode="auto">
          <a:xfrm>
            <a:off x="6509111" y="3536356"/>
            <a:ext cx="316921" cy="316921"/>
          </a:xfrm>
          <a:prstGeom prst="ellipse">
            <a:avLst/>
          </a:prstGeom>
          <a:solidFill>
            <a:schemeClr val="bg2"/>
          </a:solidFill>
          <a:ln w="50800" cap="flat" cmpd="sng" algn="ctr">
            <a:solidFill>
              <a:schemeClr val="bg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Tree>
    <p:extLst>
      <p:ext uri="{BB962C8B-B14F-4D97-AF65-F5344CB8AC3E}">
        <p14:creationId xmlns:p14="http://schemas.microsoft.com/office/powerpoint/2010/main" val="1360426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10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1000"/>
                                        <p:tgtEl>
                                          <p:spTgt spid="26"/>
                                        </p:tgtEl>
                                      </p:cBhvr>
                                    </p:animEffect>
                                  </p:childTnLst>
                                </p:cTn>
                              </p:par>
                              <p:par>
                                <p:cTn id="27" presetID="10"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1000"/>
                                        <p:tgtEl>
                                          <p:spTgt spid="2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1000"/>
                                        <p:tgtEl>
                                          <p:spTgt spid="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1000"/>
                                        <p:tgtEl>
                                          <p:spTgt spid="17"/>
                                        </p:tgtEl>
                                      </p:cBhvr>
                                    </p:animEffect>
                                  </p:childTnLst>
                                </p:cTn>
                              </p:par>
                              <p:par>
                                <p:cTn id="36" presetID="10" presetClass="entr" presetSubtype="0" fill="hold"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1000"/>
                                        <p:tgtEl>
                                          <p:spTgt spid="2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5" grpId="0" animBg="1"/>
      <p:bldP spid="16" grpId="0" animBg="1"/>
      <p:bldP spid="23" grpId="0"/>
      <p:bldP spid="26" grpId="0"/>
      <p:bldP spid="28" grpId="0"/>
      <p:bldP spid="4"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vert="horz" wrap="none" anchor="t"/>
          <a:lstStyle/>
          <a:p>
            <a:pPr eaLnBrk="0" hangingPunct="0">
              <a:spcAft>
                <a:spcPts val="0"/>
              </a:spcAft>
            </a:pPr>
            <a:r>
              <a:rPr lang="en-US" kern="1200" dirty="0"/>
              <a:t>Business Thinking vs Design Thinking</a:t>
            </a:r>
            <a:br>
              <a:rPr lang="en-US" kern="1200" dirty="0"/>
            </a:br>
            <a:r>
              <a:rPr lang="es-ES" b="0" dirty="0">
                <a:solidFill>
                  <a:srgbClr val="005192"/>
                </a:solidFill>
                <a:latin typeface="Arial" panose="020B0604020202020204" pitchFamily="34" charset="0"/>
              </a:rPr>
              <a:t>Tenga una mente abierta mientras explora el espacio de diseño</a:t>
            </a:r>
            <a:br>
              <a:rPr lang="en-GB" dirty="0">
                <a:solidFill>
                  <a:srgbClr val="005192"/>
                </a:solidFill>
                <a:latin typeface="Arial" panose="020B0604020202020204" pitchFamily="34" charset="0"/>
              </a:rPr>
            </a:br>
            <a:endParaRPr lang="en-GB" kern="1200" dirty="0">
              <a:latin typeface="Arial"/>
            </a:endParaRPr>
          </a:p>
        </p:txBody>
      </p:sp>
      <p:sp>
        <p:nvSpPr>
          <p:cNvPr id="3" name="Picture Placeholder 2">
            <a:extLst>
              <a:ext uri="{FF2B5EF4-FFF2-40B4-BE49-F238E27FC236}">
                <a16:creationId xmlns:a16="http://schemas.microsoft.com/office/drawing/2014/main" id="{9607780E-2E10-A927-CF88-78E2022A4F53}"/>
              </a:ext>
            </a:extLst>
          </p:cNvPr>
          <p:cNvSpPr>
            <a:spLocks noGrp="1"/>
          </p:cNvSpPr>
          <p:nvPr>
            <p:ph type="pic" sz="quarter" idx="22"/>
          </p:nvPr>
        </p:nvSpPr>
        <p:spPr/>
        <p:txBody>
          <a:bodyPr/>
          <a:lstStyle/>
          <a:p>
            <a:endParaRPr lang="en-GB"/>
          </a:p>
        </p:txBody>
      </p:sp>
      <p:sp>
        <p:nvSpPr>
          <p:cNvPr id="22" name="Rectangle 21"/>
          <p:cNvSpPr/>
          <p:nvPr/>
        </p:nvSpPr>
        <p:spPr bwMode="auto">
          <a:xfrm>
            <a:off x="2117767" y="1744546"/>
            <a:ext cx="2748524" cy="534390"/>
          </a:xfrm>
          <a:prstGeom prst="rect">
            <a:avLst/>
          </a:prstGeom>
          <a:solidFill>
            <a:schemeClr val="accent2"/>
          </a:solidFill>
          <a:ln w="2857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ts val="600"/>
              </a:spcBef>
              <a:spcAft>
                <a:spcPct val="0"/>
              </a:spcAft>
              <a:buClr>
                <a:schemeClr val="accent2"/>
              </a:buClr>
            </a:pPr>
            <a:r>
              <a:rPr lang="en-GB" b="1" dirty="0">
                <a:solidFill>
                  <a:schemeClr val="bg1"/>
                </a:solidFill>
                <a:latin typeface="Arial" charset="0"/>
              </a:rPr>
              <a:t>Business Thinking</a:t>
            </a:r>
          </a:p>
        </p:txBody>
      </p:sp>
      <p:sp>
        <p:nvSpPr>
          <p:cNvPr id="24" name="Rectangle 23"/>
          <p:cNvSpPr/>
          <p:nvPr/>
        </p:nvSpPr>
        <p:spPr bwMode="auto">
          <a:xfrm>
            <a:off x="5686098" y="1744546"/>
            <a:ext cx="4079446" cy="534390"/>
          </a:xfrm>
          <a:prstGeom prst="rect">
            <a:avLst/>
          </a:prstGeom>
          <a:solidFill>
            <a:schemeClr val="accent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ts val="600"/>
              </a:spcBef>
              <a:spcAft>
                <a:spcPct val="0"/>
              </a:spcAft>
              <a:buClr>
                <a:schemeClr val="accent2"/>
              </a:buClr>
            </a:pPr>
            <a:r>
              <a:rPr lang="en-GB" b="1" dirty="0">
                <a:solidFill>
                  <a:schemeClr val="bg1"/>
                </a:solidFill>
                <a:latin typeface="Arial" charset="0"/>
              </a:rPr>
              <a:t>Design Thinking</a:t>
            </a:r>
          </a:p>
        </p:txBody>
      </p:sp>
      <p:sp>
        <p:nvSpPr>
          <p:cNvPr id="7" name="Oval 6"/>
          <p:cNvSpPr/>
          <p:nvPr/>
        </p:nvSpPr>
        <p:spPr bwMode="auto">
          <a:xfrm>
            <a:off x="2447228" y="359775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25" name="Oval 24"/>
          <p:cNvSpPr/>
          <p:nvPr/>
        </p:nvSpPr>
        <p:spPr bwMode="auto">
          <a:xfrm>
            <a:off x="2447228" y="426761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27" name="Oval 26"/>
          <p:cNvSpPr/>
          <p:nvPr/>
        </p:nvSpPr>
        <p:spPr bwMode="auto">
          <a:xfrm>
            <a:off x="2447228" y="493747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30" name="Oval 29"/>
          <p:cNvSpPr/>
          <p:nvPr/>
        </p:nvSpPr>
        <p:spPr bwMode="auto">
          <a:xfrm>
            <a:off x="3954360" y="4267612"/>
            <a:ext cx="457200" cy="45720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19" name="Straight Connector 18"/>
          <p:cNvCxnSpPr/>
          <p:nvPr/>
        </p:nvCxnSpPr>
        <p:spPr bwMode="auto">
          <a:xfrm>
            <a:off x="2964816" y="3897488"/>
            <a:ext cx="929163" cy="4646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p:nvCxnSpPr>
        <p:spPr bwMode="auto">
          <a:xfrm flipV="1">
            <a:off x="3004029" y="4649688"/>
            <a:ext cx="929163" cy="4646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Oval 31"/>
          <p:cNvSpPr/>
          <p:nvPr/>
        </p:nvSpPr>
        <p:spPr bwMode="auto">
          <a:xfrm>
            <a:off x="7497221" y="359775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33" name="Oval 32"/>
          <p:cNvSpPr/>
          <p:nvPr/>
        </p:nvSpPr>
        <p:spPr bwMode="auto">
          <a:xfrm>
            <a:off x="7497221" y="426761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34" name="Oval 33"/>
          <p:cNvSpPr/>
          <p:nvPr/>
        </p:nvSpPr>
        <p:spPr bwMode="auto">
          <a:xfrm>
            <a:off x="7497221" y="4937472"/>
            <a:ext cx="457200" cy="457200"/>
          </a:xfrm>
          <a:prstGeom prst="ellipse">
            <a:avLst/>
          </a:prstGeom>
          <a:solidFill>
            <a:schemeClr val="accent2"/>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sp>
        <p:nvSpPr>
          <p:cNvPr id="35" name="Oval 34"/>
          <p:cNvSpPr/>
          <p:nvPr/>
        </p:nvSpPr>
        <p:spPr bwMode="auto">
          <a:xfrm>
            <a:off x="9004353" y="4267612"/>
            <a:ext cx="457200" cy="45720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37" name="Straight Connector 36"/>
          <p:cNvCxnSpPr/>
          <p:nvPr/>
        </p:nvCxnSpPr>
        <p:spPr bwMode="auto">
          <a:xfrm flipV="1">
            <a:off x="8054022" y="4649688"/>
            <a:ext cx="929163" cy="4646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TextBox 37"/>
          <p:cNvSpPr txBox="1"/>
          <p:nvPr/>
        </p:nvSpPr>
        <p:spPr>
          <a:xfrm>
            <a:off x="7265774" y="2479916"/>
            <a:ext cx="1211884" cy="338554"/>
          </a:xfrm>
          <a:prstGeom prst="rect">
            <a:avLst/>
          </a:prstGeom>
          <a:noFill/>
        </p:spPr>
        <p:txBody>
          <a:bodyPr wrap="square" rtlCol="0">
            <a:spAutoFit/>
          </a:bodyPr>
          <a:lstStyle/>
          <a:p>
            <a:pPr algn="ctr">
              <a:spcBef>
                <a:spcPts val="600"/>
              </a:spcBef>
              <a:buClr>
                <a:schemeClr val="accent2"/>
              </a:buClr>
            </a:pPr>
            <a:r>
              <a:rPr lang="en-GB" sz="1600" b="1" dirty="0" err="1">
                <a:solidFill>
                  <a:schemeClr val="accent2"/>
                </a:solidFill>
              </a:rPr>
              <a:t>Problema</a:t>
            </a:r>
            <a:endParaRPr lang="en-GB" sz="1600" b="1" dirty="0">
              <a:solidFill>
                <a:schemeClr val="accent2"/>
              </a:solidFill>
            </a:endParaRPr>
          </a:p>
        </p:txBody>
      </p:sp>
      <p:sp>
        <p:nvSpPr>
          <p:cNvPr id="39" name="TextBox 38"/>
          <p:cNvSpPr txBox="1"/>
          <p:nvPr/>
        </p:nvSpPr>
        <p:spPr>
          <a:xfrm>
            <a:off x="3693166" y="2671134"/>
            <a:ext cx="1061049" cy="338554"/>
          </a:xfrm>
          <a:prstGeom prst="rect">
            <a:avLst/>
          </a:prstGeom>
          <a:noFill/>
        </p:spPr>
        <p:txBody>
          <a:bodyPr wrap="square" rtlCol="0">
            <a:spAutoFit/>
          </a:bodyPr>
          <a:lstStyle/>
          <a:p>
            <a:pPr algn="ctr">
              <a:spcBef>
                <a:spcPts val="600"/>
              </a:spcBef>
              <a:buClr>
                <a:schemeClr val="accent2"/>
              </a:buClr>
            </a:pPr>
            <a:r>
              <a:rPr lang="en-GB" sz="1600" b="1" dirty="0" err="1">
                <a:solidFill>
                  <a:schemeClr val="accent2"/>
                </a:solidFill>
              </a:rPr>
              <a:t>Solución</a:t>
            </a:r>
            <a:endParaRPr lang="en-GB" sz="1600" b="1" dirty="0">
              <a:solidFill>
                <a:schemeClr val="accent2"/>
              </a:solidFill>
            </a:endParaRPr>
          </a:p>
        </p:txBody>
      </p:sp>
      <p:sp>
        <p:nvSpPr>
          <p:cNvPr id="40" name="TextBox 39"/>
          <p:cNvSpPr txBox="1"/>
          <p:nvPr/>
        </p:nvSpPr>
        <p:spPr>
          <a:xfrm>
            <a:off x="2117304" y="2671134"/>
            <a:ext cx="1144056" cy="338554"/>
          </a:xfrm>
          <a:prstGeom prst="rect">
            <a:avLst/>
          </a:prstGeom>
          <a:noFill/>
        </p:spPr>
        <p:txBody>
          <a:bodyPr wrap="square" rtlCol="0">
            <a:spAutoFit/>
          </a:bodyPr>
          <a:lstStyle/>
          <a:p>
            <a:pPr algn="ctr">
              <a:spcBef>
                <a:spcPts val="600"/>
              </a:spcBef>
              <a:buClr>
                <a:schemeClr val="accent2"/>
              </a:buClr>
            </a:pPr>
            <a:r>
              <a:rPr lang="en-GB" sz="1600" b="1" dirty="0" err="1">
                <a:solidFill>
                  <a:schemeClr val="accent2"/>
                </a:solidFill>
              </a:rPr>
              <a:t>Problema</a:t>
            </a:r>
            <a:endParaRPr lang="en-GB" sz="1600" b="1" dirty="0">
              <a:solidFill>
                <a:schemeClr val="accent2"/>
              </a:solidFill>
            </a:endParaRPr>
          </a:p>
        </p:txBody>
      </p:sp>
      <p:sp>
        <p:nvSpPr>
          <p:cNvPr id="41" name="TextBox 40"/>
          <p:cNvSpPr txBox="1"/>
          <p:nvPr/>
        </p:nvSpPr>
        <p:spPr>
          <a:xfrm>
            <a:off x="8653296" y="2475399"/>
            <a:ext cx="1061049" cy="338554"/>
          </a:xfrm>
          <a:prstGeom prst="rect">
            <a:avLst/>
          </a:prstGeom>
          <a:noFill/>
        </p:spPr>
        <p:txBody>
          <a:bodyPr wrap="square" rtlCol="0">
            <a:spAutoFit/>
          </a:bodyPr>
          <a:lstStyle/>
          <a:p>
            <a:pPr algn="ctr">
              <a:spcBef>
                <a:spcPts val="600"/>
              </a:spcBef>
              <a:buClr>
                <a:schemeClr val="accent2"/>
              </a:buClr>
            </a:pPr>
            <a:r>
              <a:rPr lang="en-GB" sz="1600" b="1" dirty="0" err="1">
                <a:solidFill>
                  <a:schemeClr val="accent2"/>
                </a:solidFill>
              </a:rPr>
              <a:t>Solución</a:t>
            </a:r>
            <a:endParaRPr lang="en-GB" sz="1600" b="1" dirty="0">
              <a:solidFill>
                <a:schemeClr val="accent2"/>
              </a:solidFill>
            </a:endParaRPr>
          </a:p>
        </p:txBody>
      </p:sp>
      <p:sp>
        <p:nvSpPr>
          <p:cNvPr id="42" name="TextBox 41"/>
          <p:cNvSpPr txBox="1"/>
          <p:nvPr/>
        </p:nvSpPr>
        <p:spPr>
          <a:xfrm>
            <a:off x="5612653" y="2475399"/>
            <a:ext cx="1363839" cy="338554"/>
          </a:xfrm>
          <a:prstGeom prst="rect">
            <a:avLst/>
          </a:prstGeom>
          <a:noFill/>
        </p:spPr>
        <p:txBody>
          <a:bodyPr wrap="square" rtlCol="0">
            <a:spAutoFit/>
          </a:bodyPr>
          <a:lstStyle/>
          <a:p>
            <a:pPr algn="ctr">
              <a:spcBef>
                <a:spcPts val="600"/>
              </a:spcBef>
              <a:buClr>
                <a:schemeClr val="accent2"/>
              </a:buClr>
            </a:pPr>
            <a:r>
              <a:rPr lang="en-GB" sz="1600" b="1" dirty="0" err="1">
                <a:solidFill>
                  <a:schemeClr val="accent1"/>
                </a:solidFill>
              </a:rPr>
              <a:t>Entender</a:t>
            </a:r>
            <a:endParaRPr lang="en-GB" sz="1600" b="1" dirty="0">
              <a:solidFill>
                <a:schemeClr val="accent1"/>
              </a:solidFill>
            </a:endParaRPr>
          </a:p>
        </p:txBody>
      </p:sp>
      <p:sp>
        <p:nvSpPr>
          <p:cNvPr id="28" name="Oval 27"/>
          <p:cNvSpPr/>
          <p:nvPr/>
        </p:nvSpPr>
        <p:spPr bwMode="auto">
          <a:xfrm>
            <a:off x="7497220" y="5607332"/>
            <a:ext cx="457200" cy="457200"/>
          </a:xfrm>
          <a:prstGeom prst="ellipse">
            <a:avLst/>
          </a:prstGeom>
          <a:solidFill>
            <a:schemeClr val="accent1"/>
          </a:solidFill>
          <a:ln w="381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fontAlgn="base">
              <a:spcBef>
                <a:spcPts val="600"/>
              </a:spcBef>
              <a:spcAft>
                <a:spcPct val="0"/>
              </a:spcAft>
              <a:buClr>
                <a:schemeClr val="accent2"/>
              </a:buClr>
              <a:buFont typeface="Wingdings 3" pitchFamily="18" charset="2"/>
              <a:buChar char="u"/>
            </a:pPr>
            <a:endParaRPr lang="en-GB">
              <a:latin typeface="Arial" charset="0"/>
            </a:endParaRPr>
          </a:p>
        </p:txBody>
      </p:sp>
      <p:sp>
        <p:nvSpPr>
          <p:cNvPr id="44" name="Oval 43"/>
          <p:cNvSpPr/>
          <p:nvPr/>
        </p:nvSpPr>
        <p:spPr bwMode="auto">
          <a:xfrm>
            <a:off x="7497967" y="2929369"/>
            <a:ext cx="457200" cy="457200"/>
          </a:xfrm>
          <a:prstGeom prst="ellipse">
            <a:avLst/>
          </a:prstGeom>
          <a:solidFill>
            <a:schemeClr val="accent1"/>
          </a:solidFill>
          <a:ln w="381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46" name="Straight Connector 45"/>
          <p:cNvCxnSpPr/>
          <p:nvPr/>
        </p:nvCxnSpPr>
        <p:spPr bwMode="auto">
          <a:xfrm flipV="1">
            <a:off x="8054021" y="4862952"/>
            <a:ext cx="950332" cy="953930"/>
          </a:xfrm>
          <a:prstGeom prst="line">
            <a:avLst/>
          </a:prstGeom>
          <a:solidFill>
            <a:schemeClr val="bg1"/>
          </a:solidFill>
          <a:ln w="38100" cap="rnd" cmpd="sng" algn="ctr">
            <a:solidFill>
              <a:schemeClr val="accent1"/>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p:cNvCxnSpPr/>
          <p:nvPr/>
        </p:nvCxnSpPr>
        <p:spPr bwMode="auto">
          <a:xfrm flipV="1">
            <a:off x="8054022" y="3466163"/>
            <a:ext cx="861379" cy="360190"/>
          </a:xfrm>
          <a:prstGeom prst="line">
            <a:avLst/>
          </a:prstGeom>
          <a:solidFill>
            <a:schemeClr val="bg1"/>
          </a:solidFill>
          <a:ln w="38100" cap="rnd" cmpd="sng" algn="ctr">
            <a:solidFill>
              <a:schemeClr val="accent1"/>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Oval 47"/>
          <p:cNvSpPr/>
          <p:nvPr/>
        </p:nvSpPr>
        <p:spPr bwMode="auto">
          <a:xfrm>
            <a:off x="9005398" y="3140552"/>
            <a:ext cx="457200" cy="457200"/>
          </a:xfrm>
          <a:prstGeom prst="ellipse">
            <a:avLst/>
          </a:prstGeom>
          <a:noFill/>
          <a:ln w="38100" cap="flat" cmpd="sng" algn="ctr">
            <a:solidFill>
              <a:schemeClr val="accent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49" name="Straight Connector 48"/>
          <p:cNvCxnSpPr/>
          <p:nvPr/>
        </p:nvCxnSpPr>
        <p:spPr bwMode="auto">
          <a:xfrm>
            <a:off x="8054021" y="3157970"/>
            <a:ext cx="861378" cy="79593"/>
          </a:xfrm>
          <a:prstGeom prst="line">
            <a:avLst/>
          </a:prstGeom>
          <a:solidFill>
            <a:schemeClr val="bg1"/>
          </a:solidFill>
          <a:ln w="38100" cap="rnd" cmpd="sng" algn="ctr">
            <a:solidFill>
              <a:schemeClr val="accent1"/>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rapezoid 10"/>
          <p:cNvSpPr/>
          <p:nvPr/>
        </p:nvSpPr>
        <p:spPr bwMode="auto">
          <a:xfrm rot="16200000">
            <a:off x="4756714" y="4020392"/>
            <a:ext cx="3135779" cy="952500"/>
          </a:xfrm>
          <a:prstGeom prst="trapezoid">
            <a:avLst>
              <a:gd name="adj" fmla="val 88801"/>
            </a:avLst>
          </a:prstGeom>
          <a:solidFill>
            <a:schemeClr val="accent1"/>
          </a:solidFill>
          <a:ln w="9525" cap="flat" cmpd="sng" algn="ctr">
            <a:solidFill>
              <a:srgbClr val="D6D1CC"/>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85750" indent="-285750" algn="ctr" defTabSz="914400" fontAlgn="base">
              <a:spcBef>
                <a:spcPts val="600"/>
              </a:spcBef>
              <a:spcAft>
                <a:spcPct val="0"/>
              </a:spcAft>
              <a:buClr>
                <a:schemeClr val="accent2"/>
              </a:buClr>
              <a:buFont typeface="Wingdings 3" pitchFamily="18" charset="2"/>
              <a:buChar char="u"/>
            </a:pPr>
            <a:endParaRPr lang="en-GB">
              <a:latin typeface="Arial" charset="0"/>
            </a:endParaRPr>
          </a:p>
        </p:txBody>
      </p:sp>
      <p:cxnSp>
        <p:nvCxnSpPr>
          <p:cNvPr id="50" name="Straight Connector 49"/>
          <p:cNvCxnSpPr/>
          <p:nvPr/>
        </p:nvCxnSpPr>
        <p:spPr bwMode="auto">
          <a:xfrm>
            <a:off x="6863003" y="3167492"/>
            <a:ext cx="580698" cy="0"/>
          </a:xfrm>
          <a:prstGeom prst="line">
            <a:avLst/>
          </a:prstGeom>
          <a:solidFill>
            <a:schemeClr val="bg1"/>
          </a:solidFill>
          <a:ln w="38100" cap="rnd" cmpd="sng" algn="ctr">
            <a:solidFill>
              <a:schemeClr val="accent1"/>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p:nvPr/>
        </p:nvCxnSpPr>
        <p:spPr bwMode="auto">
          <a:xfrm>
            <a:off x="6885897" y="5851586"/>
            <a:ext cx="580698" cy="0"/>
          </a:xfrm>
          <a:prstGeom prst="line">
            <a:avLst/>
          </a:prstGeom>
          <a:solidFill>
            <a:schemeClr val="bg1"/>
          </a:solidFill>
          <a:ln w="38100" cap="rnd" cmpd="sng" algn="ctr">
            <a:solidFill>
              <a:schemeClr val="accent1"/>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p:cNvCxnSpPr/>
          <p:nvPr/>
        </p:nvCxnSpPr>
        <p:spPr bwMode="auto">
          <a:xfrm flipH="1">
            <a:off x="6986828" y="4496214"/>
            <a:ext cx="309714" cy="4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p:cNvCxnSpPr/>
          <p:nvPr/>
        </p:nvCxnSpPr>
        <p:spPr bwMode="auto">
          <a:xfrm flipH="1">
            <a:off x="6976492" y="3826354"/>
            <a:ext cx="309714" cy="4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p:cNvCxnSpPr/>
          <p:nvPr/>
        </p:nvCxnSpPr>
        <p:spPr bwMode="auto">
          <a:xfrm flipH="1">
            <a:off x="6986409" y="5165644"/>
            <a:ext cx="309714" cy="429"/>
          </a:xfrm>
          <a:prstGeom prst="line">
            <a:avLst/>
          </a:prstGeom>
          <a:solidFill>
            <a:schemeClr val="bg1"/>
          </a:solidFill>
          <a:ln w="38100" cap="rnd" cmpd="sng" algn="ctr">
            <a:solidFill>
              <a:schemeClr val="accent2"/>
            </a:solidFill>
            <a:prstDash val="solid"/>
            <a:miter lim="800000"/>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Rectangle 35"/>
          <p:cNvSpPr/>
          <p:nvPr/>
        </p:nvSpPr>
        <p:spPr bwMode="auto">
          <a:xfrm>
            <a:off x="2117767" y="1744547"/>
            <a:ext cx="2748524" cy="4426847"/>
          </a:xfrm>
          <a:prstGeom prst="rect">
            <a:avLst/>
          </a:prstGeom>
          <a:noFill/>
          <a:ln w="2857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ts val="600"/>
              </a:spcBef>
              <a:spcAft>
                <a:spcPct val="0"/>
              </a:spcAft>
              <a:buClr>
                <a:schemeClr val="accent2"/>
              </a:buClr>
            </a:pPr>
            <a:endParaRPr lang="en-GB" b="1" dirty="0">
              <a:solidFill>
                <a:schemeClr val="bg1"/>
              </a:solidFill>
              <a:latin typeface="Arial" charset="0"/>
            </a:endParaRPr>
          </a:p>
        </p:txBody>
      </p:sp>
      <p:sp>
        <p:nvSpPr>
          <p:cNvPr id="43" name="Rectangle 42"/>
          <p:cNvSpPr/>
          <p:nvPr/>
        </p:nvSpPr>
        <p:spPr bwMode="auto">
          <a:xfrm>
            <a:off x="5686098" y="1744547"/>
            <a:ext cx="4077177" cy="4426847"/>
          </a:xfrm>
          <a:prstGeom prst="rect">
            <a:avLst/>
          </a:prstGeom>
          <a:noFill/>
          <a:ln w="28575" cap="flat" cmpd="sng" algn="ctr">
            <a:solidFill>
              <a:schemeClr val="accent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ts val="600"/>
              </a:spcBef>
              <a:spcAft>
                <a:spcPct val="0"/>
              </a:spcAft>
              <a:buClr>
                <a:schemeClr val="accent2"/>
              </a:buClr>
            </a:pPr>
            <a:endParaRPr lang="en-GB" b="1" dirty="0">
              <a:solidFill>
                <a:schemeClr val="bg1"/>
              </a:solidFill>
              <a:latin typeface="Arial" charset="0"/>
            </a:endParaRPr>
          </a:p>
        </p:txBody>
      </p:sp>
    </p:spTree>
    <p:extLst>
      <p:ext uri="{BB962C8B-B14F-4D97-AF65-F5344CB8AC3E}">
        <p14:creationId xmlns:p14="http://schemas.microsoft.com/office/powerpoint/2010/main" val="92433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animEffect transition="in" filter="fade">
                                      <p:cBhvr>
                                        <p:cTn id="9" dur="1000"/>
                                        <p:tgtEl>
                                          <p:spTgt spid="24"/>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1000"/>
                                        <p:tgtEl>
                                          <p:spTgt spid="4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1000"/>
                                        <p:tgtEl>
                                          <p:spTgt spid="3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1000"/>
                                        <p:tgtEl>
                                          <p:spTgt spid="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10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fade">
                                      <p:cBhvr>
                                        <p:cTn id="26" dur="1000"/>
                                        <p:tgtEl>
                                          <p:spTgt spid="53"/>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1000"/>
                                        <p:tgtEl>
                                          <p:spTgt spid="52"/>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1000"/>
                                        <p:tgtEl>
                                          <p:spTgt spid="5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0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1000"/>
                                        <p:tgtEl>
                                          <p:spTgt spid="4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1000"/>
                                        <p:tgtEl>
                                          <p:spTgt spid="5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1000"/>
                                        <p:tgtEl>
                                          <p:spTgt spid="44"/>
                                        </p:tgtEl>
                                      </p:cBhvr>
                                    </p:animEffect>
                                  </p:childTnLst>
                                </p:cTn>
                              </p:par>
                              <p:par>
                                <p:cTn id="47" presetID="10"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1000"/>
                                        <p:tgtEl>
                                          <p:spTgt spid="5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1000"/>
                                        <p:tgtEl>
                                          <p:spTgt spid="2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1000"/>
                                        <p:tgtEl>
                                          <p:spTgt spid="37"/>
                                        </p:tgtEl>
                                      </p:cBhvr>
                                    </p:animEffect>
                                  </p:childTnLst>
                                </p:cTn>
                              </p:par>
                              <p:par>
                                <p:cTn id="58" presetID="10"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1000"/>
                                        <p:tgtEl>
                                          <p:spTgt spid="4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par>
                                <p:cTn id="64" presetID="10" presetClass="entr" presetSubtype="0" fill="hold"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1000"/>
                                        <p:tgtEl>
                                          <p:spTgt spid="47"/>
                                        </p:tgtEl>
                                      </p:cBhvr>
                                    </p:animEffect>
                                  </p:childTnLst>
                                </p:cTn>
                              </p:par>
                              <p:par>
                                <p:cTn id="67" presetID="10" presetClass="entr" presetSubtype="0" fill="hold" nodeType="with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1000"/>
                                        <p:tgtEl>
                                          <p:spTgt spid="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2" grpId="0" animBg="1"/>
      <p:bldP spid="33" grpId="0" animBg="1"/>
      <p:bldP spid="34" grpId="0" animBg="1"/>
      <p:bldP spid="35" grpId="0" animBg="1"/>
      <p:bldP spid="38" grpId="0"/>
      <p:bldP spid="41" grpId="0"/>
      <p:bldP spid="42" grpId="0"/>
      <p:bldP spid="28" grpId="0" animBg="1"/>
      <p:bldP spid="44" grpId="0" animBg="1"/>
      <p:bldP spid="48"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BBFC9-51BE-26DF-4347-C7E229F7A0A1}"/>
              </a:ext>
            </a:extLst>
          </p:cNvPr>
          <p:cNvSpPr>
            <a:spLocks noGrp="1"/>
          </p:cNvSpPr>
          <p:nvPr>
            <p:ph type="title"/>
          </p:nvPr>
        </p:nvSpPr>
        <p:spPr>
          <a:xfrm>
            <a:off x="287338" y="115832"/>
            <a:ext cx="11615737" cy="612000"/>
          </a:xfrm>
        </p:spPr>
        <p:txBody>
          <a:bodyPr/>
          <a:lstStyle/>
          <a:p>
            <a:br>
              <a:rPr lang="en-GB" sz="2800" b="1" dirty="0"/>
            </a:br>
            <a:r>
              <a:rPr lang="en-GB" sz="2800" b="1" dirty="0"/>
              <a:t>Know your Market</a:t>
            </a:r>
          </a:p>
        </p:txBody>
      </p:sp>
      <p:sp>
        <p:nvSpPr>
          <p:cNvPr id="4" name="TextBox 3">
            <a:extLst>
              <a:ext uri="{FF2B5EF4-FFF2-40B4-BE49-F238E27FC236}">
                <a16:creationId xmlns:a16="http://schemas.microsoft.com/office/drawing/2014/main" id="{13FC3F72-C205-5FD3-7501-C6A8125BCA77}"/>
              </a:ext>
            </a:extLst>
          </p:cNvPr>
          <p:cNvSpPr txBox="1"/>
          <p:nvPr/>
        </p:nvSpPr>
        <p:spPr>
          <a:xfrm>
            <a:off x="3132083" y="3192517"/>
            <a:ext cx="5486400" cy="472966"/>
          </a:xfrm>
          <a:prstGeom prst="rect">
            <a:avLst/>
          </a:prstGeom>
          <a:noFill/>
        </p:spPr>
        <p:txBody>
          <a:bodyPr wrap="square" lIns="0" tIns="0" rIns="0" bIns="0" rtlCol="0">
            <a:noAutofit/>
          </a:bodyPr>
          <a:lstStyle/>
          <a:p>
            <a:pPr algn="ctr"/>
            <a:r>
              <a:rPr lang="en-GB" sz="2400" b="0" dirty="0"/>
              <a:t>Nicho de Mercado</a:t>
            </a:r>
          </a:p>
        </p:txBody>
      </p:sp>
      <p:sp>
        <p:nvSpPr>
          <p:cNvPr id="5" name="TextBox 4">
            <a:extLst>
              <a:ext uri="{FF2B5EF4-FFF2-40B4-BE49-F238E27FC236}">
                <a16:creationId xmlns:a16="http://schemas.microsoft.com/office/drawing/2014/main" id="{10DAEFFC-415C-CD29-7CDB-F66C6EE5B44D}"/>
              </a:ext>
            </a:extLst>
          </p:cNvPr>
          <p:cNvSpPr txBox="1">
            <a:spLocks noChangeAspect="1"/>
          </p:cNvSpPr>
          <p:nvPr/>
        </p:nvSpPr>
        <p:spPr>
          <a:xfrm>
            <a:off x="8793126" y="1363167"/>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bg2"/>
          </a:solidFill>
        </p:spPr>
        <p:txBody>
          <a:bodyPr wrap="square" lIns="144000" tIns="144000" rIns="144000" bIns="144000" rtlCol="0" anchor="ctr" anchorCtr="0">
            <a:noAutofit/>
          </a:bodyPr>
          <a:lstStyle/>
          <a:p>
            <a:pPr lvl="5"/>
            <a:r>
              <a:rPr lang="en-GB" dirty="0"/>
              <a:t>Nivel de </a:t>
            </a:r>
            <a:r>
              <a:rPr lang="en-GB" dirty="0" err="1"/>
              <a:t>Ingreso</a:t>
            </a:r>
            <a:endParaRPr lang="en-GB" b="0" dirty="0"/>
          </a:p>
        </p:txBody>
      </p:sp>
      <p:sp>
        <p:nvSpPr>
          <p:cNvPr id="6" name="TextBox 5">
            <a:extLst>
              <a:ext uri="{FF2B5EF4-FFF2-40B4-BE49-F238E27FC236}">
                <a16:creationId xmlns:a16="http://schemas.microsoft.com/office/drawing/2014/main" id="{61A86868-508D-08B3-477C-5842346005FD}"/>
              </a:ext>
            </a:extLst>
          </p:cNvPr>
          <p:cNvSpPr txBox="1">
            <a:spLocks noChangeAspect="1"/>
          </p:cNvSpPr>
          <p:nvPr/>
        </p:nvSpPr>
        <p:spPr>
          <a:xfrm>
            <a:off x="7906435" y="3988603"/>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bg2"/>
          </a:solidFill>
        </p:spPr>
        <p:txBody>
          <a:bodyPr wrap="square" lIns="144000" tIns="144000" rIns="144000" bIns="144000" rtlCol="0" anchor="ctr" anchorCtr="0">
            <a:noAutofit/>
          </a:bodyPr>
          <a:lstStyle/>
          <a:p>
            <a:pPr lvl="5"/>
            <a:r>
              <a:rPr lang="en-GB" dirty="0" err="1"/>
              <a:t>Entorno</a:t>
            </a:r>
            <a:r>
              <a:rPr lang="en-GB" dirty="0"/>
              <a:t> </a:t>
            </a:r>
            <a:r>
              <a:rPr lang="en-GB" dirty="0" err="1"/>
              <a:t>Económico</a:t>
            </a:r>
            <a:endParaRPr lang="en-GB" b="0" dirty="0"/>
          </a:p>
        </p:txBody>
      </p:sp>
      <p:sp>
        <p:nvSpPr>
          <p:cNvPr id="7" name="TextBox 6">
            <a:extLst>
              <a:ext uri="{FF2B5EF4-FFF2-40B4-BE49-F238E27FC236}">
                <a16:creationId xmlns:a16="http://schemas.microsoft.com/office/drawing/2014/main" id="{7BBB787A-BB27-D68C-B945-2B3D0DD6CED1}"/>
              </a:ext>
            </a:extLst>
          </p:cNvPr>
          <p:cNvSpPr txBox="1">
            <a:spLocks noChangeAspect="1"/>
          </p:cNvSpPr>
          <p:nvPr/>
        </p:nvSpPr>
        <p:spPr>
          <a:xfrm>
            <a:off x="4629835" y="4015807"/>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bg2"/>
          </a:solidFill>
        </p:spPr>
        <p:txBody>
          <a:bodyPr wrap="square" lIns="144000" tIns="144000" rIns="144000" bIns="144000" rtlCol="0" anchor="ctr" anchorCtr="0">
            <a:noAutofit/>
          </a:bodyPr>
          <a:lstStyle/>
          <a:p>
            <a:pPr lvl="5"/>
            <a:r>
              <a:rPr lang="en-GB" dirty="0" err="1"/>
              <a:t>Simplicidad</a:t>
            </a:r>
            <a:endParaRPr lang="en-GB" b="0" dirty="0"/>
          </a:p>
        </p:txBody>
      </p:sp>
      <p:sp>
        <p:nvSpPr>
          <p:cNvPr id="8" name="TextBox 7">
            <a:extLst>
              <a:ext uri="{FF2B5EF4-FFF2-40B4-BE49-F238E27FC236}">
                <a16:creationId xmlns:a16="http://schemas.microsoft.com/office/drawing/2014/main" id="{D55DC3B6-6CC1-7CFD-67EA-E48C4D20B44E}"/>
              </a:ext>
            </a:extLst>
          </p:cNvPr>
          <p:cNvSpPr txBox="1">
            <a:spLocks noChangeAspect="1"/>
          </p:cNvSpPr>
          <p:nvPr/>
        </p:nvSpPr>
        <p:spPr>
          <a:xfrm>
            <a:off x="4828388" y="727832"/>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bg2"/>
          </a:solidFill>
        </p:spPr>
        <p:txBody>
          <a:bodyPr wrap="square" lIns="144000" tIns="144000" rIns="144000" bIns="144000" rtlCol="0" anchor="ctr" anchorCtr="0">
            <a:noAutofit/>
          </a:bodyPr>
          <a:lstStyle/>
          <a:p>
            <a:pPr lvl="5"/>
            <a:r>
              <a:rPr lang="en-GB" dirty="0" err="1"/>
              <a:t>Estadística</a:t>
            </a:r>
            <a:endParaRPr lang="en-GB" b="0" dirty="0"/>
          </a:p>
        </p:txBody>
      </p:sp>
      <p:sp>
        <p:nvSpPr>
          <p:cNvPr id="9" name="TextBox 8">
            <a:extLst>
              <a:ext uri="{FF2B5EF4-FFF2-40B4-BE49-F238E27FC236}">
                <a16:creationId xmlns:a16="http://schemas.microsoft.com/office/drawing/2014/main" id="{C99936CB-4FF4-46D6-C635-73CF2566EFC2}"/>
              </a:ext>
            </a:extLst>
          </p:cNvPr>
          <p:cNvSpPr txBox="1">
            <a:spLocks noChangeAspect="1"/>
          </p:cNvSpPr>
          <p:nvPr/>
        </p:nvSpPr>
        <p:spPr>
          <a:xfrm>
            <a:off x="920024" y="1936661"/>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accent4">
              <a:lumMod val="20000"/>
              <a:lumOff val="80000"/>
            </a:schemeClr>
          </a:solidFill>
        </p:spPr>
        <p:txBody>
          <a:bodyPr wrap="square" lIns="144000" tIns="144000" rIns="144000" bIns="144000" rtlCol="0" anchor="ctr" anchorCtr="0">
            <a:noAutofit/>
          </a:bodyPr>
          <a:lstStyle/>
          <a:p>
            <a:pPr lvl="5"/>
            <a:r>
              <a:rPr lang="en-GB" dirty="0"/>
              <a:t>Canal de </a:t>
            </a:r>
            <a:r>
              <a:rPr lang="en-GB" dirty="0" err="1"/>
              <a:t>distribución</a:t>
            </a:r>
            <a:endParaRPr lang="en-GB" dirty="0"/>
          </a:p>
        </p:txBody>
      </p:sp>
      <p:sp>
        <p:nvSpPr>
          <p:cNvPr id="10" name="TextBox 9">
            <a:extLst>
              <a:ext uri="{FF2B5EF4-FFF2-40B4-BE49-F238E27FC236}">
                <a16:creationId xmlns:a16="http://schemas.microsoft.com/office/drawing/2014/main" id="{DA5EEBD8-2378-EF92-EE4E-2630D7E8A386}"/>
              </a:ext>
            </a:extLst>
          </p:cNvPr>
          <p:cNvSpPr txBox="1">
            <a:spLocks noChangeAspect="1"/>
          </p:cNvSpPr>
          <p:nvPr/>
        </p:nvSpPr>
        <p:spPr>
          <a:xfrm>
            <a:off x="1347263" y="4078152"/>
            <a:ext cx="2093789" cy="1810443"/>
          </a:xfrm>
          <a:custGeom>
            <a:avLst/>
            <a:gdLst>
              <a:gd name="connsiteX0" fmla="*/ 267582 w 5669047"/>
              <a:gd name="connsiteY0" fmla="*/ 0 h 4901873"/>
              <a:gd name="connsiteX1" fmla="*/ 5401855 w 5669047"/>
              <a:gd name="connsiteY1" fmla="*/ 0 h 4901873"/>
              <a:gd name="connsiteX2" fmla="*/ 5451317 w 5669047"/>
              <a:gd name="connsiteY2" fmla="*/ 4986 h 4901873"/>
              <a:gd name="connsiteX3" fmla="*/ 5664815 w 5669047"/>
              <a:gd name="connsiteY3" fmla="*/ 218485 h 4901873"/>
              <a:gd name="connsiteX4" fmla="*/ 5669047 w 5669047"/>
              <a:gd name="connsiteY4" fmla="*/ 260467 h 4901873"/>
              <a:gd name="connsiteX5" fmla="*/ 5669047 w 5669047"/>
              <a:gd name="connsiteY5" fmla="*/ 4642145 h 4901873"/>
              <a:gd name="connsiteX6" fmla="*/ 5664815 w 5669047"/>
              <a:gd name="connsiteY6" fmla="*/ 4684127 h 4901873"/>
              <a:gd name="connsiteX7" fmla="*/ 5444590 w 5669047"/>
              <a:gd name="connsiteY7" fmla="*/ 4898914 h 4901873"/>
              <a:gd name="connsiteX8" fmla="*/ 5411051 w 5669047"/>
              <a:gd name="connsiteY8" fmla="*/ 4901873 h 4901873"/>
              <a:gd name="connsiteX9" fmla="*/ 260260 w 5669047"/>
              <a:gd name="connsiteY9" fmla="*/ 4901873 h 4901873"/>
              <a:gd name="connsiteX10" fmla="*/ 218120 w 5669047"/>
              <a:gd name="connsiteY10" fmla="*/ 4897625 h 4901873"/>
              <a:gd name="connsiteX11" fmla="*/ 4621 w 5669047"/>
              <a:gd name="connsiteY11" fmla="*/ 4684127 h 4901873"/>
              <a:gd name="connsiteX12" fmla="*/ 0 w 5669047"/>
              <a:gd name="connsiteY12" fmla="*/ 4638285 h 4901873"/>
              <a:gd name="connsiteX13" fmla="*/ 0 w 5669047"/>
              <a:gd name="connsiteY13" fmla="*/ 262979 h 4901873"/>
              <a:gd name="connsiteX14" fmla="*/ 3333 w 5669047"/>
              <a:gd name="connsiteY14" fmla="*/ 225212 h 4901873"/>
              <a:gd name="connsiteX15" fmla="*/ 218119 w 5669047"/>
              <a:gd name="connsiteY15" fmla="*/ 4986 h 490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69047" h="4901873">
                <a:moveTo>
                  <a:pt x="267582" y="0"/>
                </a:moveTo>
                <a:lnTo>
                  <a:pt x="5401855" y="0"/>
                </a:lnTo>
                <a:lnTo>
                  <a:pt x="5451317" y="4986"/>
                </a:lnTo>
                <a:cubicBezTo>
                  <a:pt x="5558481" y="26915"/>
                  <a:pt x="5642886" y="111321"/>
                  <a:pt x="5664815" y="218485"/>
                </a:cubicBezTo>
                <a:lnTo>
                  <a:pt x="5669047" y="260467"/>
                </a:lnTo>
                <a:lnTo>
                  <a:pt x="5669047" y="4642145"/>
                </a:lnTo>
                <a:lnTo>
                  <a:pt x="5664815" y="4684127"/>
                </a:lnTo>
                <a:cubicBezTo>
                  <a:pt x="5642429" y="4793523"/>
                  <a:pt x="5554937" y="4879203"/>
                  <a:pt x="5444590" y="4898914"/>
                </a:cubicBezTo>
                <a:lnTo>
                  <a:pt x="5411051" y="4901873"/>
                </a:lnTo>
                <a:lnTo>
                  <a:pt x="260260" y="4901873"/>
                </a:lnTo>
                <a:lnTo>
                  <a:pt x="218120" y="4897625"/>
                </a:lnTo>
                <a:cubicBezTo>
                  <a:pt x="110956" y="4875696"/>
                  <a:pt x="26550" y="4791291"/>
                  <a:pt x="4621" y="4684127"/>
                </a:cubicBezTo>
                <a:lnTo>
                  <a:pt x="0" y="4638285"/>
                </a:lnTo>
                <a:lnTo>
                  <a:pt x="0" y="262979"/>
                </a:lnTo>
                <a:lnTo>
                  <a:pt x="3333" y="225212"/>
                </a:lnTo>
                <a:cubicBezTo>
                  <a:pt x="23043" y="114865"/>
                  <a:pt x="108723" y="27372"/>
                  <a:pt x="218119" y="4986"/>
                </a:cubicBezTo>
                <a:close/>
              </a:path>
            </a:pathLst>
          </a:custGeom>
          <a:solidFill>
            <a:schemeClr val="accent4">
              <a:lumMod val="20000"/>
              <a:lumOff val="80000"/>
            </a:schemeClr>
          </a:solidFill>
        </p:spPr>
        <p:txBody>
          <a:bodyPr wrap="square" lIns="144000" tIns="144000" rIns="144000" bIns="144000" rtlCol="0" anchor="ctr" anchorCtr="0">
            <a:noAutofit/>
          </a:bodyPr>
          <a:lstStyle/>
          <a:p>
            <a:pPr lvl="5"/>
            <a:r>
              <a:rPr lang="en-GB" dirty="0"/>
              <a:t>Coste </a:t>
            </a:r>
            <a:r>
              <a:rPr lang="en-GB" dirty="0" err="1"/>
              <a:t>Operativo</a:t>
            </a:r>
            <a:endParaRPr lang="en-GB" dirty="0"/>
          </a:p>
        </p:txBody>
      </p:sp>
    </p:spTree>
    <p:extLst>
      <p:ext uri="{BB962C8B-B14F-4D97-AF65-F5344CB8AC3E}">
        <p14:creationId xmlns:p14="http://schemas.microsoft.com/office/powerpoint/2010/main" val="463806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6E1C99-D1A7-BC20-27E7-24A9B9A5BD0C}"/>
              </a:ext>
            </a:extLst>
          </p:cNvPr>
          <p:cNvSpPr>
            <a:spLocks noGrp="1"/>
          </p:cNvSpPr>
          <p:nvPr>
            <p:ph type="title"/>
          </p:nvPr>
        </p:nvSpPr>
        <p:spPr/>
        <p:txBody>
          <a:bodyPr/>
          <a:lstStyle/>
          <a:p>
            <a:r>
              <a:rPr lang="en-GB" dirty="0"/>
              <a:t>¿</a:t>
            </a:r>
            <a:r>
              <a:rPr lang="en-GB" dirty="0" err="1"/>
              <a:t>Cómo</a:t>
            </a:r>
            <a:r>
              <a:rPr lang="en-GB" dirty="0"/>
              <a:t> </a:t>
            </a:r>
            <a:r>
              <a:rPr lang="en-GB" dirty="0" err="1"/>
              <a:t>inicio</a:t>
            </a:r>
            <a:r>
              <a:rPr lang="en-GB" dirty="0"/>
              <a:t>?</a:t>
            </a:r>
          </a:p>
        </p:txBody>
      </p:sp>
      <p:graphicFrame>
        <p:nvGraphicFramePr>
          <p:cNvPr id="4" name="Diagram 3">
            <a:extLst>
              <a:ext uri="{FF2B5EF4-FFF2-40B4-BE49-F238E27FC236}">
                <a16:creationId xmlns:a16="http://schemas.microsoft.com/office/drawing/2014/main" id="{1A72D701-F1B4-C1A9-7376-BD2D32FDD80C}"/>
              </a:ext>
            </a:extLst>
          </p:cNvPr>
          <p:cNvGraphicFramePr/>
          <p:nvPr/>
        </p:nvGraphicFramePr>
        <p:xfrm>
          <a:off x="2344850" y="1637095"/>
          <a:ext cx="7217330" cy="41823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Documents and Settings\edmgomez\Mis documentos\Mis imágenes\Médica.png">
            <a:extLst>
              <a:ext uri="{FF2B5EF4-FFF2-40B4-BE49-F238E27FC236}">
                <a16:creationId xmlns:a16="http://schemas.microsoft.com/office/drawing/2014/main" id="{AF4AD5AC-AA2E-7F69-5888-1DBCFF22AD37}"/>
              </a:ext>
            </a:extLst>
          </p:cNvPr>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a:off x="2808107" y="2431724"/>
            <a:ext cx="342873" cy="312421"/>
          </a:xfrm>
          <a:prstGeom prst="rect">
            <a:avLst/>
          </a:prstGeom>
          <a:noFill/>
        </p:spPr>
      </p:pic>
      <p:sp>
        <p:nvSpPr>
          <p:cNvPr id="6" name="Rectangle 5">
            <a:extLst>
              <a:ext uri="{FF2B5EF4-FFF2-40B4-BE49-F238E27FC236}">
                <a16:creationId xmlns:a16="http://schemas.microsoft.com/office/drawing/2014/main" id="{EE89E525-3198-A2E6-C27B-F09687262E29}"/>
              </a:ext>
            </a:extLst>
          </p:cNvPr>
          <p:cNvSpPr/>
          <p:nvPr/>
        </p:nvSpPr>
        <p:spPr>
          <a:xfrm>
            <a:off x="2839874" y="4772591"/>
            <a:ext cx="311106" cy="220436"/>
          </a:xfrm>
          <a:prstGeom prst="rect">
            <a:avLst/>
          </a:prstGeom>
          <a:blipFill rotWithShape="1">
            <a:blip r:embed="rId8"/>
            <a:stretch>
              <a:fillRect/>
            </a:stretch>
          </a:blipFill>
        </p:spPr>
        <p:style>
          <a:lnRef idx="2">
            <a:schemeClr val="lt1">
              <a:hueOff val="0"/>
              <a:satOff val="0"/>
              <a:lumOff val="0"/>
              <a:alphaOff val="0"/>
            </a:schemeClr>
          </a:lnRef>
          <a:fillRef idx="1">
            <a:scrgbClr r="0" g="0" b="0"/>
          </a:fillRef>
          <a:effectRef idx="0">
            <a:schemeClr val="accent1">
              <a:shade val="50000"/>
              <a:hueOff val="464436"/>
              <a:satOff val="-23617"/>
              <a:lumOff val="33095"/>
              <a:alphaOff val="0"/>
            </a:schemeClr>
          </a:effectRef>
          <a:fontRef idx="minor">
            <a:schemeClr val="lt1"/>
          </a:fontRef>
        </p:style>
        <p:txBody>
          <a:bodyPr/>
          <a:lstStyle/>
          <a:p>
            <a:endParaRPr lang="en-GB"/>
          </a:p>
        </p:txBody>
      </p:sp>
      <p:pic>
        <p:nvPicPr>
          <p:cNvPr id="7" name="Picture 3" descr="C:\Documents and Settings\edmgomez\Mis documentos\Mis imágenes\Contratos II.png">
            <a:extLst>
              <a:ext uri="{FF2B5EF4-FFF2-40B4-BE49-F238E27FC236}">
                <a16:creationId xmlns:a16="http://schemas.microsoft.com/office/drawing/2014/main" id="{A2065E40-99FE-ECA8-1C67-EEBDF3C0C47B}"/>
              </a:ext>
            </a:extLst>
          </p:cNvPr>
          <p:cNvPicPr>
            <a:picLocks noChangeAspect="1" noChangeArrowheads="1"/>
          </p:cNvPicPr>
          <p:nvPr/>
        </p:nvPicPr>
        <p:blipFill>
          <a:blip r:embed="rId9" cstate="print">
            <a:clrChange>
              <a:clrFrom>
                <a:srgbClr val="FFFFFF"/>
              </a:clrFrom>
              <a:clrTo>
                <a:srgbClr val="FFFFFF">
                  <a:alpha val="0"/>
                </a:srgbClr>
              </a:clrTo>
            </a:clrChange>
          </a:blip>
          <a:srcRect r="14020"/>
          <a:stretch>
            <a:fillRect/>
          </a:stretch>
        </p:blipFill>
        <p:spPr bwMode="auto">
          <a:xfrm>
            <a:off x="2990266" y="3016299"/>
            <a:ext cx="342873" cy="377088"/>
          </a:xfrm>
          <a:prstGeom prst="rect">
            <a:avLst/>
          </a:prstGeom>
          <a:noFill/>
        </p:spPr>
      </p:pic>
      <p:sp>
        <p:nvSpPr>
          <p:cNvPr id="8" name="Lightning Bolt 7">
            <a:extLst>
              <a:ext uri="{FF2B5EF4-FFF2-40B4-BE49-F238E27FC236}">
                <a16:creationId xmlns:a16="http://schemas.microsoft.com/office/drawing/2014/main" id="{A3EFC221-CFB5-A681-F0C3-DB28BB3AEDF3}"/>
              </a:ext>
            </a:extLst>
          </p:cNvPr>
          <p:cNvSpPr/>
          <p:nvPr/>
        </p:nvSpPr>
        <p:spPr bwMode="gray">
          <a:xfrm>
            <a:off x="2527270" y="5306938"/>
            <a:ext cx="205099" cy="282012"/>
          </a:xfrm>
          <a:prstGeom prst="lightningBol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R="0" algn="ctr" defTabSz="914400" rtl="0" eaLnBrk="1" fontAlgn="base" latinLnBrk="0" hangingPunct="1">
              <a:lnSpc>
                <a:spcPct val="100000"/>
              </a:lnSpc>
              <a:spcAft>
                <a:spcPct val="0"/>
              </a:spcAft>
              <a:buClr>
                <a:schemeClr val="accent2"/>
              </a:buClr>
              <a:buSzTx/>
              <a:tabLst/>
            </a:pPr>
            <a:endParaRPr kumimoji="0" lang="en-GB" sz="1600" b="0" i="0" u="none" strike="noStrike" cap="none" normalizeH="0" baseline="0" dirty="0" err="1">
              <a:ln>
                <a:noFill/>
              </a:ln>
              <a:effectLst/>
              <a:latin typeface="Arial" charset="0"/>
            </a:endParaRPr>
          </a:p>
        </p:txBody>
      </p:sp>
    </p:spTree>
    <p:extLst>
      <p:ext uri="{BB962C8B-B14F-4D97-AF65-F5344CB8AC3E}">
        <p14:creationId xmlns:p14="http://schemas.microsoft.com/office/powerpoint/2010/main" val="3882906454"/>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EE4P_STYLE_ID" val="1c9ac4c4-e96a-4f51-bb39-c913fdb73df4"/>
</p:tagLst>
</file>

<file path=ppt/tags/tag2.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HannoverRe 2024 Blue">
  <a:themeElements>
    <a:clrScheme name="HannoverRe_Blue">
      <a:dk1>
        <a:sysClr val="windowText" lastClr="000000"/>
      </a:dk1>
      <a:lt1>
        <a:sysClr val="window" lastClr="FFFFFF"/>
      </a:lt1>
      <a:dk2>
        <a:srgbClr val="003C70"/>
      </a:dk2>
      <a:lt2>
        <a:srgbClr val="C1D5FF"/>
      </a:lt2>
      <a:accent1>
        <a:srgbClr val="0077D4"/>
      </a:accent1>
      <a:accent2>
        <a:srgbClr val="846CFF"/>
      </a:accent2>
      <a:accent3>
        <a:srgbClr val="CE4169"/>
      </a:accent3>
      <a:accent4>
        <a:srgbClr val="858900"/>
      </a:accent4>
      <a:accent5>
        <a:srgbClr val="5FA04D"/>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Re_20240626" id="{6E179243-0B5B-43F4-9F46-1EE9421F6A4B}" vid="{1C3B1F63-DB27-468D-8395-33CC0016168F}"/>
    </a:ext>
  </a:extLst>
</a:theme>
</file>

<file path=ppt/theme/theme2.xml><?xml version="1.0" encoding="utf-8"?>
<a:theme xmlns:a="http://schemas.openxmlformats.org/drawingml/2006/main" name="HannoverRe 2024 Lime">
  <a:themeElements>
    <a:clrScheme name="HannoverRe Lime">
      <a:dk1>
        <a:sysClr val="windowText" lastClr="000000"/>
      </a:dk1>
      <a:lt1>
        <a:sysClr val="window" lastClr="FFFFFF"/>
      </a:lt1>
      <a:dk2>
        <a:srgbClr val="003C70"/>
      </a:dk2>
      <a:lt2>
        <a:srgbClr val="C1D5FF"/>
      </a:lt2>
      <a:accent1>
        <a:srgbClr val="858900"/>
      </a:accent1>
      <a:accent2>
        <a:srgbClr val="5FA04D"/>
      </a:accent2>
      <a:accent3>
        <a:srgbClr val="0077D4"/>
      </a:accent3>
      <a:accent4>
        <a:srgbClr val="846CFF"/>
      </a:accent4>
      <a:accent5>
        <a:srgbClr val="CE4169"/>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Re_20240626" id="{6E179243-0B5B-43F4-9F46-1EE9421F6A4B}" vid="{660454D5-EB35-4FDC-AC36-0D366361F6EF}"/>
    </a:ext>
  </a:extLst>
</a:theme>
</file>

<file path=ppt/theme/theme3.xml><?xml version="1.0" encoding="utf-8"?>
<a:theme xmlns:a="http://schemas.openxmlformats.org/drawingml/2006/main" name="HannoverRe 2024 Green">
  <a:themeElements>
    <a:clrScheme name="HannoverRe Green">
      <a:dk1>
        <a:sysClr val="windowText" lastClr="000000"/>
      </a:dk1>
      <a:lt1>
        <a:sysClr val="window" lastClr="FFFFFF"/>
      </a:lt1>
      <a:dk2>
        <a:srgbClr val="003C70"/>
      </a:dk2>
      <a:lt2>
        <a:srgbClr val="C1D5FF"/>
      </a:lt2>
      <a:accent1>
        <a:srgbClr val="5FA04D"/>
      </a:accent1>
      <a:accent2>
        <a:srgbClr val="0077D4"/>
      </a:accent2>
      <a:accent3>
        <a:srgbClr val="846CFF"/>
      </a:accent3>
      <a:accent4>
        <a:srgbClr val="CE4169"/>
      </a:accent4>
      <a:accent5>
        <a:srgbClr val="858900"/>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Re_20240626" id="{6E179243-0B5B-43F4-9F46-1EE9421F6A4B}" vid="{6A489222-F270-489C-B428-6D0DE9E5C9E8}"/>
    </a:ext>
  </a:extLst>
</a:theme>
</file>

<file path=ppt/theme/theme4.xml><?xml version="1.0" encoding="utf-8"?>
<a:theme xmlns:a="http://schemas.openxmlformats.org/drawingml/2006/main" name="HannoverRe 2024 Purple">
  <a:themeElements>
    <a:clrScheme name="HannoverRe purple">
      <a:dk1>
        <a:sysClr val="windowText" lastClr="000000"/>
      </a:dk1>
      <a:lt1>
        <a:sysClr val="window" lastClr="FFFFFF"/>
      </a:lt1>
      <a:dk2>
        <a:srgbClr val="003C70"/>
      </a:dk2>
      <a:lt2>
        <a:srgbClr val="C1D5FF"/>
      </a:lt2>
      <a:accent1>
        <a:srgbClr val="846CFF"/>
      </a:accent1>
      <a:accent2>
        <a:srgbClr val="CE4169"/>
      </a:accent2>
      <a:accent3>
        <a:srgbClr val="858900"/>
      </a:accent3>
      <a:accent4>
        <a:srgbClr val="5FA04D"/>
      </a:accent4>
      <a:accent5>
        <a:srgbClr val="0077D4"/>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Re_20240626" id="{6E179243-0B5B-43F4-9F46-1EE9421F6A4B}" vid="{9FF30A20-FB25-44FF-8124-CB6FC50A9176}"/>
    </a:ext>
  </a:extLst>
</a:theme>
</file>

<file path=ppt/theme/theme5.xml><?xml version="1.0" encoding="utf-8"?>
<a:theme xmlns:a="http://schemas.openxmlformats.org/drawingml/2006/main" name="HannoverRe 2024 Red">
  <a:themeElements>
    <a:clrScheme name="HannoverRe Red">
      <a:dk1>
        <a:sysClr val="windowText" lastClr="000000"/>
      </a:dk1>
      <a:lt1>
        <a:sysClr val="window" lastClr="FFFFFF"/>
      </a:lt1>
      <a:dk2>
        <a:srgbClr val="003C70"/>
      </a:dk2>
      <a:lt2>
        <a:srgbClr val="C1D5FF"/>
      </a:lt2>
      <a:accent1>
        <a:srgbClr val="CE4169"/>
      </a:accent1>
      <a:accent2>
        <a:srgbClr val="858900"/>
      </a:accent2>
      <a:accent3>
        <a:srgbClr val="5FA04D"/>
      </a:accent3>
      <a:accent4>
        <a:srgbClr val="0077D4"/>
      </a:accent4>
      <a:accent5>
        <a:srgbClr val="846CFF"/>
      </a:accent5>
      <a:accent6>
        <a:srgbClr val="919191"/>
      </a:accent6>
      <a:hlink>
        <a:srgbClr val="003C70"/>
      </a:hlink>
      <a:folHlink>
        <a:srgbClr val="003C70"/>
      </a:folHlink>
    </a:clrScheme>
    <a:fontScheme name="Archivo">
      <a:majorFont>
        <a:latin typeface="Archivo"/>
        <a:ea typeface=""/>
        <a:cs typeface=""/>
      </a:majorFont>
      <a:minorFont>
        <a:latin typeface="Archiv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E4169"/>
        </a:solidFill>
        <a:ln w="12700" cap="flat">
          <a:noFill/>
          <a:prstDash val="solid"/>
          <a:miter/>
        </a:ln>
      </a:spPr>
      <a:bodyPr tIns="90000" bIns="90000" rtlCol="0" anchor="ctr"/>
      <a:lstStyle>
        <a:defPPr algn="ctr">
          <a:defRPr sz="2000" dirty="0">
            <a:solidFill>
              <a:schemeClr val="bg1"/>
            </a:solidFill>
          </a:defRPr>
        </a:defPPr>
      </a:lstStyle>
    </a:spDef>
    <a:txDef>
      <a:spPr>
        <a:noFill/>
      </a:spPr>
      <a:bodyPr wrap="square" lIns="0" tIns="0" rIns="0" bIns="0" rtlCol="0">
        <a:noAutofit/>
      </a:bodyPr>
      <a:lstStyle>
        <a:defPPr algn="l">
          <a:defRPr dirty="0"/>
        </a:defPPr>
      </a:lstStyle>
    </a:txDef>
  </a:objectDefaults>
  <a:extraClrSchemeLst/>
  <a:custClrLst>
    <a:custClr name="Blue 85">
      <a:srgbClr val="C1D5FF"/>
    </a:custClr>
    <a:custClr name="Purple 85">
      <a:srgbClr val="D4CFFF"/>
    </a:custClr>
    <a:custClr name="Red 85">
      <a:srgbClr val="FFC6D0"/>
    </a:custClr>
    <a:custClr name="Lime 85">
      <a:srgbClr val="D6DD00"/>
    </a:custClr>
    <a:custClr name="Green 85">
      <a:srgbClr val="8EEA74"/>
    </a:custClr>
    <a:custClr name="Gray 85">
      <a:srgbClr val="D4D4D4"/>
    </a:custClr>
    <a:custClr name="Gray 95">
      <a:srgbClr val="F1F1F1"/>
    </a:custClr>
    <a:custClr>
      <a:srgbClr val="FFFFFF"/>
    </a:custClr>
    <a:custClr>
      <a:srgbClr val="FFFFFF"/>
    </a:custClr>
    <a:custClr>
      <a:srgbClr val="FFFFFF"/>
    </a:custClr>
    <a:custClr name="Blue 50">
      <a:srgbClr val="0077D4"/>
    </a:custClr>
    <a:custClr name="Purple 50">
      <a:srgbClr val="7658FF"/>
    </a:custClr>
    <a:custClr name="Red 50">
      <a:srgbClr val="CE4169"/>
    </a:custClr>
    <a:custClr name="Lime 50">
      <a:srgbClr val="777B00"/>
    </a:custClr>
    <a:custClr name="Green 50">
      <a:srgbClr val="4D823E"/>
    </a:custClr>
    <a:custClr name="Gray 50">
      <a:srgbClr val="777777"/>
    </a:custClr>
    <a:custClr>
      <a:srgbClr val="FFFFFF"/>
    </a:custClr>
    <a:custClr>
      <a:srgbClr val="FFFFFF"/>
    </a:custClr>
    <a:custClr>
      <a:srgbClr val="FFFFFF"/>
    </a:custClr>
    <a:custClr>
      <a:srgbClr val="FFFFFF"/>
    </a:custClr>
    <a:custClr name="Blue 25">
      <a:srgbClr val="003C70"/>
    </a:custClr>
    <a:custClr name="Purple 25">
      <a:srgbClr val="3B2398"/>
    </a:custClr>
    <a:custClr name="Red 25">
      <a:srgbClr val="721833"/>
    </a:custClr>
    <a:custClr name="Lime 25">
      <a:srgbClr val="3C3E00"/>
    </a:custClr>
    <a:custClr name="Green 25">
      <a:srgbClr val="25421C"/>
    </a:custClr>
    <a:custClr name="Gray 25">
      <a:srgbClr val="3B3B3B"/>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HRe_20240626" id="{6E179243-0B5B-43F4-9F46-1EE9421F6A4B}" vid="{34624C4B-DF6B-41EE-898E-06856C90AC6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HRe_2024</Template>
  <TotalTime>15</TotalTime>
  <Words>1324</Words>
  <Application>Microsoft Office PowerPoint</Application>
  <PresentationFormat>Panorámica</PresentationFormat>
  <Paragraphs>181</Paragraphs>
  <Slides>24</Slides>
  <Notes>8</Notes>
  <HiddenSlides>0</HiddenSlides>
  <MMClips>0</MMClips>
  <ScaleCrop>false</ScaleCrop>
  <HeadingPairs>
    <vt:vector size="6" baseType="variant">
      <vt:variant>
        <vt:lpstr>Fuentes usadas</vt:lpstr>
      </vt:variant>
      <vt:variant>
        <vt:i4>7</vt:i4>
      </vt:variant>
      <vt:variant>
        <vt:lpstr>Tema</vt:lpstr>
      </vt:variant>
      <vt:variant>
        <vt:i4>5</vt:i4>
      </vt:variant>
      <vt:variant>
        <vt:lpstr>Títulos de diapositiva</vt:lpstr>
      </vt:variant>
      <vt:variant>
        <vt:i4>24</vt:i4>
      </vt:variant>
    </vt:vector>
  </HeadingPairs>
  <TitlesOfParts>
    <vt:vector size="36" baseType="lpstr">
      <vt:lpstr>宋体</vt:lpstr>
      <vt:lpstr>Aptos</vt:lpstr>
      <vt:lpstr>Archivo</vt:lpstr>
      <vt:lpstr>Arial</vt:lpstr>
      <vt:lpstr>Cambria Math</vt:lpstr>
      <vt:lpstr>Symbol</vt:lpstr>
      <vt:lpstr>Wingdings 3</vt:lpstr>
      <vt:lpstr>HannoverRe 2024 Blue</vt:lpstr>
      <vt:lpstr>HannoverRe 2024 Lime</vt:lpstr>
      <vt:lpstr>HannoverRe 2024 Green</vt:lpstr>
      <vt:lpstr>HannoverRe 2024 Purple</vt:lpstr>
      <vt:lpstr>HannoverRe 2024 Red</vt:lpstr>
      <vt:lpstr>Desarrollo de Productos de Vida</vt:lpstr>
      <vt:lpstr>Conocerles un poco…</vt:lpstr>
      <vt:lpstr>Ciclo de Control Actuarial Resumen</vt:lpstr>
      <vt:lpstr>Ciclo de Control Actuarial Elementos</vt:lpstr>
      <vt:lpstr>Ciclo de Control Actuarial Ejemplo: Diseño de producto de seguro</vt:lpstr>
      <vt:lpstr>Design Thinking
Poner al usuario en el centro del proceso de diseño</vt:lpstr>
      <vt:lpstr>Business Thinking vs Design Thinking Tenga una mente abierta mientras explora el espacio de diseño </vt:lpstr>
      <vt:lpstr> Know your Market</vt:lpstr>
      <vt:lpstr>¿Cómo inicio?</vt:lpstr>
      <vt:lpstr>Generalidades</vt:lpstr>
      <vt:lpstr>Constitución del grupo</vt:lpstr>
      <vt:lpstr>Algunos conceptos</vt:lpstr>
      <vt:lpstr>Probabilidad</vt:lpstr>
      <vt:lpstr>Distribución de Mortalidad</vt:lpstr>
      <vt:lpstr> Distribución de Mortalidad</vt:lpstr>
      <vt:lpstr> ¿A corto o largo plazo?</vt:lpstr>
      <vt:lpstr> ¿A corto o largo plazo?</vt:lpstr>
      <vt:lpstr>Reserva Matemática</vt:lpstr>
      <vt:lpstr>Prima Tarifa</vt:lpstr>
      <vt:lpstr>Coste de Adquicisión</vt:lpstr>
      <vt:lpstr>Coste de Adquicisión</vt:lpstr>
      <vt:lpstr>Coste Operativo</vt:lpstr>
      <vt:lpstr>Proyección de Ventas</vt:lpstr>
      <vt:lpstr>Presentación de PowerPoint</vt:lpstr>
    </vt:vector>
  </TitlesOfParts>
  <Company>hannover 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arrollo de Productos de Vida</dc:title>
  <dc:creator>Bryan Urbano</dc:creator>
  <cp:lastModifiedBy>Byron Hi</cp:lastModifiedBy>
  <cp:revision>2</cp:revision>
  <dcterms:created xsi:type="dcterms:W3CDTF">2025-09-24T03:05:09Z</dcterms:created>
  <dcterms:modified xsi:type="dcterms:W3CDTF">2025-09-24T13:11:40Z</dcterms:modified>
</cp:coreProperties>
</file>